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tif" ContentType="image/tiff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</p:sldMasterIdLst>
  <p:notesMasterIdLst>
    <p:notesMasterId r:id="rId19"/>
  </p:notesMasterIdLst>
  <p:sldIdLst>
    <p:sldId id="286" r:id="rId2"/>
    <p:sldId id="272" r:id="rId3"/>
    <p:sldId id="266" r:id="rId4"/>
    <p:sldId id="287" r:id="rId5"/>
    <p:sldId id="682" r:id="rId6"/>
    <p:sldId id="683" r:id="rId7"/>
    <p:sldId id="688" r:id="rId8"/>
    <p:sldId id="681" r:id="rId9"/>
    <p:sldId id="697" r:id="rId10"/>
    <p:sldId id="698" r:id="rId11"/>
    <p:sldId id="689" r:id="rId12"/>
    <p:sldId id="690" r:id="rId13"/>
    <p:sldId id="699" r:id="rId14"/>
    <p:sldId id="700" r:id="rId15"/>
    <p:sldId id="701" r:id="rId16"/>
    <p:sldId id="702" r:id="rId17"/>
    <p:sldId id="703" r:id="rId18"/>
  </p:sldIdLst>
  <p:sldSz cx="20104100" cy="11309350"/>
  <p:notesSz cx="20104100" cy="1130935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 varScale="1">
        <p:scale>
          <a:sx n="42" d="100"/>
          <a:sy n="42" d="100"/>
        </p:scale>
        <p:origin x="756" y="54"/>
      </p:cViewPr>
      <p:guideLst>
        <p:guide orient="horz" pos="2880"/>
        <p:guide pos="216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heme" Target="theme/theme1.xml"/></Relationships>
</file>

<file path=ppt/diagrams/_rels/data3.xml.rels><?xml version="1.0" encoding="UTF-8" standalone="yes"?>
<Relationships xmlns="http://schemas.openxmlformats.org/package/2006/relationships"><Relationship Id="rId1" Type="http://schemas.openxmlformats.org/officeDocument/2006/relationships/image" Target="../media/image13.png"/></Relationships>
</file>

<file path=ppt/diagrams/_rels/drawing3.xml.rels><?xml version="1.0" encoding="UTF-8" standalone="yes"?>
<Relationships xmlns="http://schemas.openxmlformats.org/package/2006/relationships"><Relationship Id="rId1" Type="http://schemas.openxmlformats.org/officeDocument/2006/relationships/image" Target="../media/image13.pn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D693EF7D-4E27-4535-A962-6A2811C45897}" type="doc">
      <dgm:prSet loTypeId="urn:microsoft.com/office/officeart/2005/8/layout/defaul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4A48B597-22EA-4D85-AE7F-CE9C73BA2884}">
      <dgm:prSet phldrT="[Текст]"/>
      <dgm:spPr/>
      <dgm:t>
        <a:bodyPr/>
        <a:lstStyle/>
        <a:p>
          <a:r>
            <a:rPr lang="ru-RU" dirty="0">
              <a:latin typeface="Times New Roman" panose="02020603050405020304" pitchFamily="18" charset="0"/>
              <a:cs typeface="Times New Roman" panose="02020603050405020304" pitchFamily="18" charset="0"/>
            </a:rPr>
            <a:t>готовность успешно  взаимодействовать с изменяющимся окружающим миром, используя свои способности для совершенствования</a:t>
          </a:r>
          <a:endParaRPr lang="ru-RU" dirty="0"/>
        </a:p>
      </dgm:t>
    </dgm:pt>
    <dgm:pt modelId="{206F0F96-B7F8-4EF4-A21C-A4D1663E38C3}" type="parTrans" cxnId="{F5905785-0625-479A-9505-694B43520EEC}">
      <dgm:prSet/>
      <dgm:spPr/>
      <dgm:t>
        <a:bodyPr/>
        <a:lstStyle/>
        <a:p>
          <a:endParaRPr lang="ru-RU"/>
        </a:p>
      </dgm:t>
    </dgm:pt>
    <dgm:pt modelId="{7771D7C4-6624-41EE-B292-E4DF6CF87EAC}" type="sibTrans" cxnId="{F5905785-0625-479A-9505-694B43520EEC}">
      <dgm:prSet/>
      <dgm:spPr/>
      <dgm:t>
        <a:bodyPr/>
        <a:lstStyle/>
        <a:p>
          <a:endParaRPr lang="ru-RU"/>
        </a:p>
      </dgm:t>
    </dgm:pt>
    <dgm:pt modelId="{62935E42-0FBD-4EA7-93AD-0C206E75F83F}">
      <dgm:prSet phldrT="[Текст]"/>
      <dgm:spPr/>
      <dgm:t>
        <a:bodyPr/>
        <a:lstStyle/>
        <a:p>
          <a:r>
            <a:rPr lang="ru-RU" dirty="0">
              <a:latin typeface="Times New Roman" panose="02020603050405020304" pitchFamily="18" charset="0"/>
              <a:cs typeface="Times New Roman" panose="02020603050405020304" pitchFamily="18" charset="0"/>
            </a:rPr>
            <a:t>возможность решать различные учебные и жизненные задачи, обладать сформированными умениями строить алгоритмы основных видов деятельности</a:t>
          </a:r>
          <a:endParaRPr lang="ru-RU" dirty="0"/>
        </a:p>
      </dgm:t>
    </dgm:pt>
    <dgm:pt modelId="{C14B3E25-3A18-4F65-891E-93B991060A19}" type="parTrans" cxnId="{082E307D-84D7-4E6F-A3D5-71ED14D6EE4A}">
      <dgm:prSet/>
      <dgm:spPr/>
      <dgm:t>
        <a:bodyPr/>
        <a:lstStyle/>
        <a:p>
          <a:endParaRPr lang="ru-RU"/>
        </a:p>
      </dgm:t>
    </dgm:pt>
    <dgm:pt modelId="{3287306F-C29B-4D94-A21B-22C95F4E7CAC}" type="sibTrans" cxnId="{082E307D-84D7-4E6F-A3D5-71ED14D6EE4A}">
      <dgm:prSet/>
      <dgm:spPr/>
      <dgm:t>
        <a:bodyPr/>
        <a:lstStyle/>
        <a:p>
          <a:endParaRPr lang="ru-RU"/>
        </a:p>
      </dgm:t>
    </dgm:pt>
    <dgm:pt modelId="{60E66603-9E24-4FEA-9242-53F15FC130DD}">
      <dgm:prSet phldrT="[Текст]"/>
      <dgm:spPr/>
      <dgm:t>
        <a:bodyPr/>
        <a:lstStyle/>
        <a:p>
          <a:r>
            <a:rPr lang="ru-RU" dirty="0">
              <a:latin typeface="Times New Roman" panose="02020603050405020304" pitchFamily="18" charset="0"/>
              <a:cs typeface="Times New Roman" panose="02020603050405020304" pitchFamily="18" charset="0"/>
            </a:rPr>
            <a:t>способность строить социальные отношения в соответствии с нравственно-этическими ценностями социума, правилами партнерства</a:t>
          </a:r>
          <a:endParaRPr lang="ru-RU" dirty="0"/>
        </a:p>
      </dgm:t>
    </dgm:pt>
    <dgm:pt modelId="{3810859C-B8CD-4ED9-82CB-799CF67F9C04}" type="parTrans" cxnId="{06829879-01D2-48AA-90B3-07582DCDFFED}">
      <dgm:prSet/>
      <dgm:spPr/>
      <dgm:t>
        <a:bodyPr/>
        <a:lstStyle/>
        <a:p>
          <a:endParaRPr lang="ru-RU"/>
        </a:p>
      </dgm:t>
    </dgm:pt>
    <dgm:pt modelId="{EE1FA916-5A12-4714-BA50-B04F6620FF4E}" type="sibTrans" cxnId="{06829879-01D2-48AA-90B3-07582DCDFFED}">
      <dgm:prSet/>
      <dgm:spPr/>
      <dgm:t>
        <a:bodyPr/>
        <a:lstStyle/>
        <a:p>
          <a:endParaRPr lang="ru-RU"/>
        </a:p>
      </dgm:t>
    </dgm:pt>
    <dgm:pt modelId="{2E3021D2-8544-4402-ABD2-9A72844B69E3}">
      <dgm:prSet phldrT="[Текст]"/>
      <dgm:spPr/>
      <dgm:t>
        <a:bodyPr/>
        <a:lstStyle/>
        <a:p>
          <a:r>
            <a:rPr lang="ru-RU" dirty="0">
              <a:latin typeface="Times New Roman" panose="02020603050405020304" pitchFamily="18" charset="0"/>
              <a:cs typeface="Times New Roman" panose="02020603050405020304" pitchFamily="18" charset="0"/>
            </a:rPr>
            <a:t>способность строить социальные отношения в соответствии с нравственно-этическими ценностями социума, правилами партнерства</a:t>
          </a:r>
          <a:endParaRPr lang="ru-RU" dirty="0"/>
        </a:p>
      </dgm:t>
    </dgm:pt>
    <dgm:pt modelId="{667C10B7-7E55-411E-AFB8-DE0250C15F31}" type="parTrans" cxnId="{5BDC6826-18D3-49AC-8818-103631BCB1C7}">
      <dgm:prSet/>
      <dgm:spPr/>
      <dgm:t>
        <a:bodyPr/>
        <a:lstStyle/>
        <a:p>
          <a:endParaRPr lang="ru-RU"/>
        </a:p>
      </dgm:t>
    </dgm:pt>
    <dgm:pt modelId="{52EB6DD0-463C-4DE9-9DDB-1D5B4D545504}" type="sibTrans" cxnId="{5BDC6826-18D3-49AC-8818-103631BCB1C7}">
      <dgm:prSet/>
      <dgm:spPr/>
      <dgm:t>
        <a:bodyPr/>
        <a:lstStyle/>
        <a:p>
          <a:endParaRPr lang="ru-RU"/>
        </a:p>
      </dgm:t>
    </dgm:pt>
    <dgm:pt modelId="{64A6CE6E-1617-40CD-8CD8-6380F9249F33}" type="pres">
      <dgm:prSet presAssocID="{D693EF7D-4E27-4535-A962-6A2811C45897}" presName="diagram" presStyleCnt="0">
        <dgm:presLayoutVars>
          <dgm:dir/>
          <dgm:resizeHandles val="exact"/>
        </dgm:presLayoutVars>
      </dgm:prSet>
      <dgm:spPr/>
    </dgm:pt>
    <dgm:pt modelId="{E3F3E32C-7FA7-44E5-85A9-3764A1A3F65F}" type="pres">
      <dgm:prSet presAssocID="{4A48B597-22EA-4D85-AE7F-CE9C73BA2884}" presName="node" presStyleLbl="node1" presStyleIdx="0" presStyleCnt="4" custScaleX="442906" custScaleY="377739">
        <dgm:presLayoutVars>
          <dgm:bulletEnabled val="1"/>
        </dgm:presLayoutVars>
      </dgm:prSet>
      <dgm:spPr/>
    </dgm:pt>
    <dgm:pt modelId="{D1FDBE63-55D6-4CFB-8149-7A5F3A6E3AA5}" type="pres">
      <dgm:prSet presAssocID="{7771D7C4-6624-41EE-B292-E4DF6CF87EAC}" presName="sibTrans" presStyleCnt="0"/>
      <dgm:spPr/>
    </dgm:pt>
    <dgm:pt modelId="{F46FFDB6-1014-4F8C-8500-D9F1BCA21D3A}" type="pres">
      <dgm:prSet presAssocID="{62935E42-0FBD-4EA7-93AD-0C206E75F83F}" presName="node" presStyleLbl="node1" presStyleIdx="1" presStyleCnt="4" custScaleX="461464" custScaleY="365981">
        <dgm:presLayoutVars>
          <dgm:bulletEnabled val="1"/>
        </dgm:presLayoutVars>
      </dgm:prSet>
      <dgm:spPr/>
    </dgm:pt>
    <dgm:pt modelId="{080F7C4C-DDD6-45A5-A25E-719FFDE368C0}" type="pres">
      <dgm:prSet presAssocID="{3287306F-C29B-4D94-A21B-22C95F4E7CAC}" presName="sibTrans" presStyleCnt="0"/>
      <dgm:spPr/>
    </dgm:pt>
    <dgm:pt modelId="{A4DE9DD6-B553-4CED-9FB0-5A5E4735CDEE}" type="pres">
      <dgm:prSet presAssocID="{60E66603-9E24-4FEA-9242-53F15FC130DD}" presName="node" presStyleLbl="node1" presStyleIdx="2" presStyleCnt="4" custScaleX="448048" custScaleY="368110">
        <dgm:presLayoutVars>
          <dgm:bulletEnabled val="1"/>
        </dgm:presLayoutVars>
      </dgm:prSet>
      <dgm:spPr/>
    </dgm:pt>
    <dgm:pt modelId="{08D7E446-1F02-4104-B1DA-EBBD48389F88}" type="pres">
      <dgm:prSet presAssocID="{EE1FA916-5A12-4714-BA50-B04F6620FF4E}" presName="sibTrans" presStyleCnt="0"/>
      <dgm:spPr/>
    </dgm:pt>
    <dgm:pt modelId="{A966002D-BFDE-4243-B8AB-F5C3B3C450C1}" type="pres">
      <dgm:prSet presAssocID="{2E3021D2-8544-4402-ABD2-9A72844B69E3}" presName="node" presStyleLbl="node1" presStyleIdx="3" presStyleCnt="4" custScaleX="446928" custScaleY="369005">
        <dgm:presLayoutVars>
          <dgm:bulletEnabled val="1"/>
        </dgm:presLayoutVars>
      </dgm:prSet>
      <dgm:spPr/>
    </dgm:pt>
  </dgm:ptLst>
  <dgm:cxnLst>
    <dgm:cxn modelId="{757D6825-7456-405B-8A7C-D521956F2E75}" type="presOf" srcId="{62935E42-0FBD-4EA7-93AD-0C206E75F83F}" destId="{F46FFDB6-1014-4F8C-8500-D9F1BCA21D3A}" srcOrd="0" destOrd="0" presId="urn:microsoft.com/office/officeart/2005/8/layout/default"/>
    <dgm:cxn modelId="{5BDC6826-18D3-49AC-8818-103631BCB1C7}" srcId="{D693EF7D-4E27-4535-A962-6A2811C45897}" destId="{2E3021D2-8544-4402-ABD2-9A72844B69E3}" srcOrd="3" destOrd="0" parTransId="{667C10B7-7E55-411E-AFB8-DE0250C15F31}" sibTransId="{52EB6DD0-463C-4DE9-9DDB-1D5B4D545504}"/>
    <dgm:cxn modelId="{DD951143-F70A-416B-84CC-BD197DC1E013}" type="presOf" srcId="{4A48B597-22EA-4D85-AE7F-CE9C73BA2884}" destId="{E3F3E32C-7FA7-44E5-85A9-3764A1A3F65F}" srcOrd="0" destOrd="0" presId="urn:microsoft.com/office/officeart/2005/8/layout/default"/>
    <dgm:cxn modelId="{06829879-01D2-48AA-90B3-07582DCDFFED}" srcId="{D693EF7D-4E27-4535-A962-6A2811C45897}" destId="{60E66603-9E24-4FEA-9242-53F15FC130DD}" srcOrd="2" destOrd="0" parTransId="{3810859C-B8CD-4ED9-82CB-799CF67F9C04}" sibTransId="{EE1FA916-5A12-4714-BA50-B04F6620FF4E}"/>
    <dgm:cxn modelId="{082E307D-84D7-4E6F-A3D5-71ED14D6EE4A}" srcId="{D693EF7D-4E27-4535-A962-6A2811C45897}" destId="{62935E42-0FBD-4EA7-93AD-0C206E75F83F}" srcOrd="1" destOrd="0" parTransId="{C14B3E25-3A18-4F65-891E-93B991060A19}" sibTransId="{3287306F-C29B-4D94-A21B-22C95F4E7CAC}"/>
    <dgm:cxn modelId="{45C6D782-8359-411E-913B-C36EA69C3904}" type="presOf" srcId="{D693EF7D-4E27-4535-A962-6A2811C45897}" destId="{64A6CE6E-1617-40CD-8CD8-6380F9249F33}" srcOrd="0" destOrd="0" presId="urn:microsoft.com/office/officeart/2005/8/layout/default"/>
    <dgm:cxn modelId="{F5905785-0625-479A-9505-694B43520EEC}" srcId="{D693EF7D-4E27-4535-A962-6A2811C45897}" destId="{4A48B597-22EA-4D85-AE7F-CE9C73BA2884}" srcOrd="0" destOrd="0" parTransId="{206F0F96-B7F8-4EF4-A21C-A4D1663E38C3}" sibTransId="{7771D7C4-6624-41EE-B292-E4DF6CF87EAC}"/>
    <dgm:cxn modelId="{127B67CE-482B-4CE2-9BA1-DF78E3212703}" type="presOf" srcId="{2E3021D2-8544-4402-ABD2-9A72844B69E3}" destId="{A966002D-BFDE-4243-B8AB-F5C3B3C450C1}" srcOrd="0" destOrd="0" presId="urn:microsoft.com/office/officeart/2005/8/layout/default"/>
    <dgm:cxn modelId="{DC218BF0-6BA3-4074-8A59-83B05FE564D0}" type="presOf" srcId="{60E66603-9E24-4FEA-9242-53F15FC130DD}" destId="{A4DE9DD6-B553-4CED-9FB0-5A5E4735CDEE}" srcOrd="0" destOrd="0" presId="urn:microsoft.com/office/officeart/2005/8/layout/default"/>
    <dgm:cxn modelId="{349B6B9E-3EC7-4908-89C0-E0D12F998A20}" type="presParOf" srcId="{64A6CE6E-1617-40CD-8CD8-6380F9249F33}" destId="{E3F3E32C-7FA7-44E5-85A9-3764A1A3F65F}" srcOrd="0" destOrd="0" presId="urn:microsoft.com/office/officeart/2005/8/layout/default"/>
    <dgm:cxn modelId="{5CE11D45-6E4D-46FB-B094-3B379AA42407}" type="presParOf" srcId="{64A6CE6E-1617-40CD-8CD8-6380F9249F33}" destId="{D1FDBE63-55D6-4CFB-8149-7A5F3A6E3AA5}" srcOrd="1" destOrd="0" presId="urn:microsoft.com/office/officeart/2005/8/layout/default"/>
    <dgm:cxn modelId="{20DC52BC-2D4C-473B-8BF6-E501A77AA29B}" type="presParOf" srcId="{64A6CE6E-1617-40CD-8CD8-6380F9249F33}" destId="{F46FFDB6-1014-4F8C-8500-D9F1BCA21D3A}" srcOrd="2" destOrd="0" presId="urn:microsoft.com/office/officeart/2005/8/layout/default"/>
    <dgm:cxn modelId="{61EAD028-4D2F-40CE-BEA9-90DA2125C2E0}" type="presParOf" srcId="{64A6CE6E-1617-40CD-8CD8-6380F9249F33}" destId="{080F7C4C-DDD6-45A5-A25E-719FFDE368C0}" srcOrd="3" destOrd="0" presId="urn:microsoft.com/office/officeart/2005/8/layout/default"/>
    <dgm:cxn modelId="{9BB06B48-0A8C-4E83-AEA9-19D6501C9EF0}" type="presParOf" srcId="{64A6CE6E-1617-40CD-8CD8-6380F9249F33}" destId="{A4DE9DD6-B553-4CED-9FB0-5A5E4735CDEE}" srcOrd="4" destOrd="0" presId="urn:microsoft.com/office/officeart/2005/8/layout/default"/>
    <dgm:cxn modelId="{FFDDA35A-A8FB-496A-89C8-E28C67270336}" type="presParOf" srcId="{64A6CE6E-1617-40CD-8CD8-6380F9249F33}" destId="{08D7E446-1F02-4104-B1DA-EBBD48389F88}" srcOrd="5" destOrd="0" presId="urn:microsoft.com/office/officeart/2005/8/layout/default"/>
    <dgm:cxn modelId="{3145665E-2734-4199-A788-4AD3E4B6BF44}" type="presParOf" srcId="{64A6CE6E-1617-40CD-8CD8-6380F9249F33}" destId="{A966002D-BFDE-4243-B8AB-F5C3B3C450C1}" srcOrd="6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541EA19B-CA54-421B-B994-99D6583DC5A0}" type="doc">
      <dgm:prSet loTypeId="urn:microsoft.com/office/officeart/2008/layout/HorizontalMultiLevelHierarchy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46089917-F4C7-4539-87DC-D72C5FFADC76}">
      <dgm:prSet phldrT="[Текст]" custT="1"/>
      <dgm:spPr/>
      <dgm:t>
        <a:bodyPr/>
        <a:lstStyle/>
        <a:p>
          <a:r>
            <a:rPr lang="ru-RU" sz="4000" dirty="0">
              <a:latin typeface="Times New Roman" panose="02020603050405020304" pitchFamily="18" charset="0"/>
              <a:cs typeface="Times New Roman" panose="02020603050405020304" pitchFamily="18" charset="0"/>
            </a:rPr>
            <a:t>Изменение запроса на качество общего образования</a:t>
          </a:r>
        </a:p>
      </dgm:t>
    </dgm:pt>
    <dgm:pt modelId="{7E92BC56-165C-42C1-A010-FD8109C23CE0}" type="parTrans" cxnId="{D34B5EE6-E2B0-4E16-B6A6-BCDD74AC14FF}">
      <dgm:prSet/>
      <dgm:spPr/>
      <dgm:t>
        <a:bodyPr/>
        <a:lstStyle/>
        <a:p>
          <a:endParaRPr lang="ru-RU"/>
        </a:p>
      </dgm:t>
    </dgm:pt>
    <dgm:pt modelId="{7532FC0D-9FF6-4EFB-8390-D73915AAB834}" type="sibTrans" cxnId="{D34B5EE6-E2B0-4E16-B6A6-BCDD74AC14FF}">
      <dgm:prSet/>
      <dgm:spPr/>
      <dgm:t>
        <a:bodyPr/>
        <a:lstStyle/>
        <a:p>
          <a:endParaRPr lang="ru-RU"/>
        </a:p>
      </dgm:t>
    </dgm:pt>
    <dgm:pt modelId="{064D44D1-CA73-4131-A098-292113226DF6}">
      <dgm:prSet phldrT="[Текст]" custT="1"/>
      <dgm:spPr/>
      <dgm:t>
        <a:bodyPr/>
        <a:lstStyle/>
        <a:p>
          <a:pPr algn="ctr"/>
          <a:r>
            <a:rPr lang="ru-RU" sz="4000" dirty="0">
              <a:latin typeface="Times New Roman" panose="02020603050405020304" pitchFamily="18" charset="0"/>
              <a:cs typeface="Times New Roman" panose="02020603050405020304" pitchFamily="18" charset="0"/>
            </a:rPr>
            <a:t>Приоритетной целью становится формирование функциональной грамотности в системе общего образования</a:t>
          </a:r>
        </a:p>
      </dgm:t>
    </dgm:pt>
    <dgm:pt modelId="{7F4C8EE2-0913-46A0-BD3A-6337759CB496}" type="parTrans" cxnId="{10A3F317-EA44-486F-BB02-D13444BB1BB7}">
      <dgm:prSet/>
      <dgm:spPr/>
      <dgm:t>
        <a:bodyPr/>
        <a:lstStyle/>
        <a:p>
          <a:endParaRPr lang="ru-RU"/>
        </a:p>
      </dgm:t>
    </dgm:pt>
    <dgm:pt modelId="{8E2A14BB-FB42-4DE3-96ED-3E7DEA0D7318}" type="sibTrans" cxnId="{10A3F317-EA44-486F-BB02-D13444BB1BB7}">
      <dgm:prSet/>
      <dgm:spPr/>
      <dgm:t>
        <a:bodyPr/>
        <a:lstStyle/>
        <a:p>
          <a:endParaRPr lang="ru-RU"/>
        </a:p>
      </dgm:t>
    </dgm:pt>
    <dgm:pt modelId="{4CECB8D0-3577-495E-BC9E-460A37BE49B3}">
      <dgm:prSet phldrT="[Текст]" custT="1"/>
      <dgm:spPr/>
      <dgm:t>
        <a:bodyPr/>
        <a:lstStyle/>
        <a:p>
          <a:r>
            <a:rPr lang="ru-RU" sz="4000" dirty="0">
              <a:latin typeface="Times New Roman" panose="02020603050405020304" pitchFamily="18" charset="0"/>
              <a:cs typeface="Times New Roman" panose="02020603050405020304" pitchFamily="18" charset="0"/>
            </a:rPr>
            <a:t>Создание поддерживающей позитивной образовательной среды за счет изменения содержания образовательных программ для более полного учета интересов учащихся и требований 21 века</a:t>
          </a:r>
        </a:p>
      </dgm:t>
    </dgm:pt>
    <dgm:pt modelId="{9AA09638-BF5F-42B5-9C51-8A52961A045E}" type="parTrans" cxnId="{FEEFA626-75AD-49EF-912A-3F2B0E910BEA}">
      <dgm:prSet/>
      <dgm:spPr/>
      <dgm:t>
        <a:bodyPr/>
        <a:lstStyle/>
        <a:p>
          <a:endParaRPr lang="ru-RU"/>
        </a:p>
      </dgm:t>
    </dgm:pt>
    <dgm:pt modelId="{670EB4B2-8048-4081-986A-E8A597E6A2F8}" type="sibTrans" cxnId="{FEEFA626-75AD-49EF-912A-3F2B0E910BEA}">
      <dgm:prSet/>
      <dgm:spPr/>
      <dgm:t>
        <a:bodyPr/>
        <a:lstStyle/>
        <a:p>
          <a:endParaRPr lang="ru-RU"/>
        </a:p>
      </dgm:t>
    </dgm:pt>
    <dgm:pt modelId="{081DD999-203A-46DB-9F92-2999012A684C}" type="pres">
      <dgm:prSet presAssocID="{541EA19B-CA54-421B-B994-99D6583DC5A0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</dgm:pt>
    <dgm:pt modelId="{91146142-1307-4CA4-A593-B7383CE3251E}" type="pres">
      <dgm:prSet presAssocID="{46089917-F4C7-4539-87DC-D72C5FFADC76}" presName="root1" presStyleCnt="0"/>
      <dgm:spPr/>
    </dgm:pt>
    <dgm:pt modelId="{62CB5F4D-EC5B-43DD-A297-7A4C272B5179}" type="pres">
      <dgm:prSet presAssocID="{46089917-F4C7-4539-87DC-D72C5FFADC76}" presName="LevelOneTextNode" presStyleLbl="node0" presStyleIdx="0" presStyleCnt="1" custAng="5400000" custScaleX="309669" custScaleY="79108" custLinFactNeighborX="-732" custLinFactNeighborY="-6229">
        <dgm:presLayoutVars>
          <dgm:chPref val="3"/>
        </dgm:presLayoutVars>
      </dgm:prSet>
      <dgm:spPr/>
    </dgm:pt>
    <dgm:pt modelId="{0BC8F648-5C1B-48AC-B7BC-17232E3E6CD6}" type="pres">
      <dgm:prSet presAssocID="{46089917-F4C7-4539-87DC-D72C5FFADC76}" presName="level2hierChild" presStyleCnt="0"/>
      <dgm:spPr/>
    </dgm:pt>
    <dgm:pt modelId="{6539F093-7E15-4D08-9D62-066DA961449D}" type="pres">
      <dgm:prSet presAssocID="{7F4C8EE2-0913-46A0-BD3A-6337759CB496}" presName="conn2-1" presStyleLbl="parChTrans1D2" presStyleIdx="0" presStyleCnt="2"/>
      <dgm:spPr/>
    </dgm:pt>
    <dgm:pt modelId="{4966F045-8807-40E2-8629-A989F681EAC3}" type="pres">
      <dgm:prSet presAssocID="{7F4C8EE2-0913-46A0-BD3A-6337759CB496}" presName="connTx" presStyleLbl="parChTrans1D2" presStyleIdx="0" presStyleCnt="2"/>
      <dgm:spPr/>
    </dgm:pt>
    <dgm:pt modelId="{A9AF7F79-5C3B-4A9E-B628-F31EC99C6765}" type="pres">
      <dgm:prSet presAssocID="{064D44D1-CA73-4131-A098-292113226DF6}" presName="root2" presStyleCnt="0"/>
      <dgm:spPr/>
    </dgm:pt>
    <dgm:pt modelId="{78B96A2A-9C10-4E93-A091-607A19C5D4E4}" type="pres">
      <dgm:prSet presAssocID="{064D44D1-CA73-4131-A098-292113226DF6}" presName="LevelTwoTextNode" presStyleLbl="node2" presStyleIdx="0" presStyleCnt="2" custScaleX="188101" custScaleY="246104" custLinFactNeighborX="48814" custLinFactNeighborY="-15357">
        <dgm:presLayoutVars>
          <dgm:chPref val="3"/>
        </dgm:presLayoutVars>
      </dgm:prSet>
      <dgm:spPr/>
    </dgm:pt>
    <dgm:pt modelId="{BCB834BC-3DFA-4DCF-B3F2-9C879A6495FB}" type="pres">
      <dgm:prSet presAssocID="{064D44D1-CA73-4131-A098-292113226DF6}" presName="level3hierChild" presStyleCnt="0"/>
      <dgm:spPr/>
    </dgm:pt>
    <dgm:pt modelId="{0B720B0C-558E-460F-B2DC-C6D31836C691}" type="pres">
      <dgm:prSet presAssocID="{9AA09638-BF5F-42B5-9C51-8A52961A045E}" presName="conn2-1" presStyleLbl="parChTrans1D2" presStyleIdx="1" presStyleCnt="2"/>
      <dgm:spPr/>
    </dgm:pt>
    <dgm:pt modelId="{3A5D3721-6439-4888-8821-665E64958F69}" type="pres">
      <dgm:prSet presAssocID="{9AA09638-BF5F-42B5-9C51-8A52961A045E}" presName="connTx" presStyleLbl="parChTrans1D2" presStyleIdx="1" presStyleCnt="2"/>
      <dgm:spPr/>
    </dgm:pt>
    <dgm:pt modelId="{2DCEEE2F-CD77-4460-B98C-3263C03F22CD}" type="pres">
      <dgm:prSet presAssocID="{4CECB8D0-3577-495E-BC9E-460A37BE49B3}" presName="root2" presStyleCnt="0"/>
      <dgm:spPr/>
    </dgm:pt>
    <dgm:pt modelId="{676F50B6-BAF7-40F9-B1CA-C888530D5A3C}" type="pres">
      <dgm:prSet presAssocID="{4CECB8D0-3577-495E-BC9E-460A37BE49B3}" presName="LevelTwoTextNode" presStyleLbl="node2" presStyleIdx="1" presStyleCnt="2" custScaleX="188685" custScaleY="255319" custLinFactNeighborX="45463" custLinFactNeighborY="-15883">
        <dgm:presLayoutVars>
          <dgm:chPref val="3"/>
        </dgm:presLayoutVars>
      </dgm:prSet>
      <dgm:spPr/>
    </dgm:pt>
    <dgm:pt modelId="{B4689A8F-D3B2-45D9-B0F1-5CB72FF9E313}" type="pres">
      <dgm:prSet presAssocID="{4CECB8D0-3577-495E-BC9E-460A37BE49B3}" presName="level3hierChild" presStyleCnt="0"/>
      <dgm:spPr/>
    </dgm:pt>
  </dgm:ptLst>
  <dgm:cxnLst>
    <dgm:cxn modelId="{DAB06303-36D4-41BD-8B91-7163505115D2}" type="presOf" srcId="{9AA09638-BF5F-42B5-9C51-8A52961A045E}" destId="{3A5D3721-6439-4888-8821-665E64958F69}" srcOrd="1" destOrd="0" presId="urn:microsoft.com/office/officeart/2008/layout/HorizontalMultiLevelHierarchy"/>
    <dgm:cxn modelId="{A6115506-A752-49D5-8D60-029886C7D4BD}" type="presOf" srcId="{9AA09638-BF5F-42B5-9C51-8A52961A045E}" destId="{0B720B0C-558E-460F-B2DC-C6D31836C691}" srcOrd="0" destOrd="0" presId="urn:microsoft.com/office/officeart/2008/layout/HorizontalMultiLevelHierarchy"/>
    <dgm:cxn modelId="{10A3F317-EA44-486F-BB02-D13444BB1BB7}" srcId="{46089917-F4C7-4539-87DC-D72C5FFADC76}" destId="{064D44D1-CA73-4131-A098-292113226DF6}" srcOrd="0" destOrd="0" parTransId="{7F4C8EE2-0913-46A0-BD3A-6337759CB496}" sibTransId="{8E2A14BB-FB42-4DE3-96ED-3E7DEA0D7318}"/>
    <dgm:cxn modelId="{FEEFA626-75AD-49EF-912A-3F2B0E910BEA}" srcId="{46089917-F4C7-4539-87DC-D72C5FFADC76}" destId="{4CECB8D0-3577-495E-BC9E-460A37BE49B3}" srcOrd="1" destOrd="0" parTransId="{9AA09638-BF5F-42B5-9C51-8A52961A045E}" sibTransId="{670EB4B2-8048-4081-986A-E8A597E6A2F8}"/>
    <dgm:cxn modelId="{4A51D25C-759F-4EA7-89BC-3378585430FA}" type="presOf" srcId="{064D44D1-CA73-4131-A098-292113226DF6}" destId="{78B96A2A-9C10-4E93-A091-607A19C5D4E4}" srcOrd="0" destOrd="0" presId="urn:microsoft.com/office/officeart/2008/layout/HorizontalMultiLevelHierarchy"/>
    <dgm:cxn modelId="{9AA80A51-9C55-413E-A304-0C80BB25758D}" type="presOf" srcId="{7F4C8EE2-0913-46A0-BD3A-6337759CB496}" destId="{6539F093-7E15-4D08-9D62-066DA961449D}" srcOrd="0" destOrd="0" presId="urn:microsoft.com/office/officeart/2008/layout/HorizontalMultiLevelHierarchy"/>
    <dgm:cxn modelId="{5A5E1676-F2F5-4634-8EE6-BCD977370CF0}" type="presOf" srcId="{7F4C8EE2-0913-46A0-BD3A-6337759CB496}" destId="{4966F045-8807-40E2-8629-A989F681EAC3}" srcOrd="1" destOrd="0" presId="urn:microsoft.com/office/officeart/2008/layout/HorizontalMultiLevelHierarchy"/>
    <dgm:cxn modelId="{336147AF-131A-4816-95F1-472730B37B1D}" type="presOf" srcId="{4CECB8D0-3577-495E-BC9E-460A37BE49B3}" destId="{676F50B6-BAF7-40F9-B1CA-C888530D5A3C}" srcOrd="0" destOrd="0" presId="urn:microsoft.com/office/officeart/2008/layout/HorizontalMultiLevelHierarchy"/>
    <dgm:cxn modelId="{A08836B9-2DE7-4F3C-861C-E4DBFAB17F43}" type="presOf" srcId="{541EA19B-CA54-421B-B994-99D6583DC5A0}" destId="{081DD999-203A-46DB-9F92-2999012A684C}" srcOrd="0" destOrd="0" presId="urn:microsoft.com/office/officeart/2008/layout/HorizontalMultiLevelHierarchy"/>
    <dgm:cxn modelId="{95DF4AD9-09BC-4C5A-ABDA-0B5C525CBFDF}" type="presOf" srcId="{46089917-F4C7-4539-87DC-D72C5FFADC76}" destId="{62CB5F4D-EC5B-43DD-A297-7A4C272B5179}" srcOrd="0" destOrd="0" presId="urn:microsoft.com/office/officeart/2008/layout/HorizontalMultiLevelHierarchy"/>
    <dgm:cxn modelId="{D34B5EE6-E2B0-4E16-B6A6-BCDD74AC14FF}" srcId="{541EA19B-CA54-421B-B994-99D6583DC5A0}" destId="{46089917-F4C7-4539-87DC-D72C5FFADC76}" srcOrd="0" destOrd="0" parTransId="{7E92BC56-165C-42C1-A010-FD8109C23CE0}" sibTransId="{7532FC0D-9FF6-4EFB-8390-D73915AAB834}"/>
    <dgm:cxn modelId="{FC1AB271-4DF6-49A4-9472-6A843ADB0810}" type="presParOf" srcId="{081DD999-203A-46DB-9F92-2999012A684C}" destId="{91146142-1307-4CA4-A593-B7383CE3251E}" srcOrd="0" destOrd="0" presId="urn:microsoft.com/office/officeart/2008/layout/HorizontalMultiLevelHierarchy"/>
    <dgm:cxn modelId="{B9B1C7C5-C4F8-47EC-AC80-DE5DF2FD1854}" type="presParOf" srcId="{91146142-1307-4CA4-A593-B7383CE3251E}" destId="{62CB5F4D-EC5B-43DD-A297-7A4C272B5179}" srcOrd="0" destOrd="0" presId="urn:microsoft.com/office/officeart/2008/layout/HorizontalMultiLevelHierarchy"/>
    <dgm:cxn modelId="{10269DA9-5485-4542-A36E-4627CF609A4A}" type="presParOf" srcId="{91146142-1307-4CA4-A593-B7383CE3251E}" destId="{0BC8F648-5C1B-48AC-B7BC-17232E3E6CD6}" srcOrd="1" destOrd="0" presId="urn:microsoft.com/office/officeart/2008/layout/HorizontalMultiLevelHierarchy"/>
    <dgm:cxn modelId="{F9C0FBC3-3A22-4075-B53B-685C6855F646}" type="presParOf" srcId="{0BC8F648-5C1B-48AC-B7BC-17232E3E6CD6}" destId="{6539F093-7E15-4D08-9D62-066DA961449D}" srcOrd="0" destOrd="0" presId="urn:microsoft.com/office/officeart/2008/layout/HorizontalMultiLevelHierarchy"/>
    <dgm:cxn modelId="{A506131A-1259-4AC6-B23D-073CE0F940BC}" type="presParOf" srcId="{6539F093-7E15-4D08-9D62-066DA961449D}" destId="{4966F045-8807-40E2-8629-A989F681EAC3}" srcOrd="0" destOrd="0" presId="urn:microsoft.com/office/officeart/2008/layout/HorizontalMultiLevelHierarchy"/>
    <dgm:cxn modelId="{5CC97D00-FC74-41A1-83D7-E6B8089E30D4}" type="presParOf" srcId="{0BC8F648-5C1B-48AC-B7BC-17232E3E6CD6}" destId="{A9AF7F79-5C3B-4A9E-B628-F31EC99C6765}" srcOrd="1" destOrd="0" presId="urn:microsoft.com/office/officeart/2008/layout/HorizontalMultiLevelHierarchy"/>
    <dgm:cxn modelId="{16B31857-CC06-443D-8907-B47D33E972E0}" type="presParOf" srcId="{A9AF7F79-5C3B-4A9E-B628-F31EC99C6765}" destId="{78B96A2A-9C10-4E93-A091-607A19C5D4E4}" srcOrd="0" destOrd="0" presId="urn:microsoft.com/office/officeart/2008/layout/HorizontalMultiLevelHierarchy"/>
    <dgm:cxn modelId="{185837B2-C142-448B-8112-54C8B8FAFD05}" type="presParOf" srcId="{A9AF7F79-5C3B-4A9E-B628-F31EC99C6765}" destId="{BCB834BC-3DFA-4DCF-B3F2-9C879A6495FB}" srcOrd="1" destOrd="0" presId="urn:microsoft.com/office/officeart/2008/layout/HorizontalMultiLevelHierarchy"/>
    <dgm:cxn modelId="{5068E964-5003-432A-A9CF-1390944AC391}" type="presParOf" srcId="{0BC8F648-5C1B-48AC-B7BC-17232E3E6CD6}" destId="{0B720B0C-558E-460F-B2DC-C6D31836C691}" srcOrd="2" destOrd="0" presId="urn:microsoft.com/office/officeart/2008/layout/HorizontalMultiLevelHierarchy"/>
    <dgm:cxn modelId="{87A358BC-B16D-4BFD-B2BA-3B46EE79237E}" type="presParOf" srcId="{0B720B0C-558E-460F-B2DC-C6D31836C691}" destId="{3A5D3721-6439-4888-8821-665E64958F69}" srcOrd="0" destOrd="0" presId="urn:microsoft.com/office/officeart/2008/layout/HorizontalMultiLevelHierarchy"/>
    <dgm:cxn modelId="{A2DB169D-FFE9-4C34-86D6-723F7CD6B15F}" type="presParOf" srcId="{0BC8F648-5C1B-48AC-B7BC-17232E3E6CD6}" destId="{2DCEEE2F-CD77-4460-B98C-3263C03F22CD}" srcOrd="3" destOrd="0" presId="urn:microsoft.com/office/officeart/2008/layout/HorizontalMultiLevelHierarchy"/>
    <dgm:cxn modelId="{29270222-D4F8-411E-A624-6D6DB27ABDF8}" type="presParOf" srcId="{2DCEEE2F-CD77-4460-B98C-3263C03F22CD}" destId="{676F50B6-BAF7-40F9-B1CA-C888530D5A3C}" srcOrd="0" destOrd="0" presId="urn:microsoft.com/office/officeart/2008/layout/HorizontalMultiLevelHierarchy"/>
    <dgm:cxn modelId="{65F289FA-151D-4678-9526-CE46EADF6ABD}" type="presParOf" srcId="{2DCEEE2F-CD77-4460-B98C-3263C03F22CD}" destId="{B4689A8F-D3B2-45D9-B0F1-5CB72FF9E313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06BBD21C-D46B-496A-8856-E17150713E9A}" type="doc">
      <dgm:prSet loTypeId="urn:microsoft.com/office/officeart/2009/3/layout/StepUpProcess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4DB6A422-6954-466E-88BF-A2250AACF4F2}">
      <dgm:prSet phldrT="[Текст]"/>
      <dgm:spPr/>
      <dgm:t>
        <a:bodyPr/>
        <a:lstStyle/>
        <a:p>
          <a:r>
            <a:rPr lang="ru-RU" dirty="0">
              <a:latin typeface="Times New Roman" panose="02020603050405020304" pitchFamily="18" charset="0"/>
              <a:cs typeface="Times New Roman" panose="02020603050405020304" pitchFamily="18" charset="0"/>
            </a:rPr>
            <a:t>Дошкольное образование</a:t>
          </a:r>
        </a:p>
      </dgm:t>
    </dgm:pt>
    <dgm:pt modelId="{6E8EBAFB-3E83-49CB-95CA-6805C4AC8EEA}" type="parTrans" cxnId="{35EFF5D8-E889-4798-8DF0-FF31DA8C8C36}">
      <dgm:prSet/>
      <dgm:spPr/>
      <dgm:t>
        <a:bodyPr/>
        <a:lstStyle/>
        <a:p>
          <a:endParaRPr lang="ru-RU"/>
        </a:p>
      </dgm:t>
    </dgm:pt>
    <dgm:pt modelId="{C79EC326-AEF2-4080-889C-CAF3C56F268B}" type="sibTrans" cxnId="{35EFF5D8-E889-4798-8DF0-FF31DA8C8C36}">
      <dgm:prSet/>
      <dgm:spPr/>
      <dgm:t>
        <a:bodyPr/>
        <a:lstStyle/>
        <a:p>
          <a:endParaRPr lang="ru-RU"/>
        </a:p>
      </dgm:t>
    </dgm:pt>
    <dgm:pt modelId="{6FFD7AEA-A6DC-4907-9CC4-21DAADE566B9}">
      <dgm:prSet phldrT="[Текст]"/>
      <dgm:spPr/>
      <dgm:t>
        <a:bodyPr/>
        <a:lstStyle/>
        <a:p>
          <a:r>
            <a:rPr lang="ru-RU" dirty="0">
              <a:latin typeface="Times New Roman" panose="02020603050405020304" pitchFamily="18" charset="0"/>
              <a:cs typeface="Times New Roman" panose="02020603050405020304" pitchFamily="18" charset="0"/>
            </a:rPr>
            <a:t>Начальное общее образование</a:t>
          </a:r>
        </a:p>
      </dgm:t>
    </dgm:pt>
    <dgm:pt modelId="{82C9D6D3-F093-4C00-908A-85C9FCBDAB3F}" type="parTrans" cxnId="{8C4009B1-1168-432D-89E6-0F3C7F2C5C83}">
      <dgm:prSet/>
      <dgm:spPr/>
      <dgm:t>
        <a:bodyPr/>
        <a:lstStyle/>
        <a:p>
          <a:endParaRPr lang="ru-RU"/>
        </a:p>
      </dgm:t>
    </dgm:pt>
    <dgm:pt modelId="{D57DB845-D109-4948-898B-4CB439303B17}" type="sibTrans" cxnId="{8C4009B1-1168-432D-89E6-0F3C7F2C5C83}">
      <dgm:prSet/>
      <dgm:spPr/>
      <dgm:t>
        <a:bodyPr/>
        <a:lstStyle/>
        <a:p>
          <a:endParaRPr lang="ru-RU"/>
        </a:p>
      </dgm:t>
    </dgm:pt>
    <dgm:pt modelId="{C740F466-F290-4FFB-9C8E-8E70E33CC908}">
      <dgm:prSet phldrT="[Текст]"/>
      <dgm:spPr/>
      <dgm:t>
        <a:bodyPr/>
        <a:lstStyle/>
        <a:p>
          <a:r>
            <a:rPr lang="ru-RU" dirty="0">
              <a:latin typeface="Times New Roman" panose="02020603050405020304" pitchFamily="18" charset="0"/>
              <a:cs typeface="Times New Roman" panose="02020603050405020304" pitchFamily="18" charset="0"/>
            </a:rPr>
            <a:t>Среднее общее образование</a:t>
          </a:r>
        </a:p>
      </dgm:t>
    </dgm:pt>
    <dgm:pt modelId="{4D3B41D4-8BF1-4B1D-B381-4FF3FEAA580F}" type="parTrans" cxnId="{2C7923DE-1584-4C37-AAA4-DD23971F06E1}">
      <dgm:prSet/>
      <dgm:spPr/>
      <dgm:t>
        <a:bodyPr/>
        <a:lstStyle/>
        <a:p>
          <a:endParaRPr lang="ru-RU"/>
        </a:p>
      </dgm:t>
    </dgm:pt>
    <dgm:pt modelId="{705561A4-3556-49B8-ACAF-1D891FD89DC3}" type="sibTrans" cxnId="{2C7923DE-1584-4C37-AAA4-DD23971F06E1}">
      <dgm:prSet/>
      <dgm:spPr/>
      <dgm:t>
        <a:bodyPr/>
        <a:lstStyle/>
        <a:p>
          <a:endParaRPr lang="ru-RU"/>
        </a:p>
      </dgm:t>
    </dgm:pt>
    <dgm:pt modelId="{2BB96230-B4A2-4065-9BC9-72303740D8C7}">
      <dgm:prSet/>
      <dgm:spPr/>
      <dgm:t>
        <a:bodyPr/>
        <a:lstStyle/>
        <a:p>
          <a:r>
            <a:rPr lang="ru-RU" dirty="0">
              <a:latin typeface="Times New Roman" panose="02020603050405020304" pitchFamily="18" charset="0"/>
              <a:cs typeface="Times New Roman" panose="02020603050405020304" pitchFamily="18" charset="0"/>
            </a:rPr>
            <a:t>Основное общее образование</a:t>
          </a:r>
        </a:p>
      </dgm:t>
    </dgm:pt>
    <dgm:pt modelId="{2E59B89E-9B3B-4F21-ACC6-3343A7ADE13C}" type="parTrans" cxnId="{20A621C8-A608-4FF7-BDA8-BF64ADDF1772}">
      <dgm:prSet/>
      <dgm:spPr/>
      <dgm:t>
        <a:bodyPr/>
        <a:lstStyle/>
        <a:p>
          <a:endParaRPr lang="ru-RU"/>
        </a:p>
      </dgm:t>
    </dgm:pt>
    <dgm:pt modelId="{AC3F076E-8C3A-417A-AD95-37B0845C4515}" type="sibTrans" cxnId="{20A621C8-A608-4FF7-BDA8-BF64ADDF1772}">
      <dgm:prSet/>
      <dgm:spPr/>
      <dgm:t>
        <a:bodyPr/>
        <a:lstStyle/>
        <a:p>
          <a:endParaRPr lang="ru-RU"/>
        </a:p>
      </dgm:t>
    </dgm:pt>
    <dgm:pt modelId="{A7E8E5E7-3F3B-4112-8C36-A815D2BDA7B3}" type="pres">
      <dgm:prSet presAssocID="{06BBD21C-D46B-496A-8856-E17150713E9A}" presName="rootnode" presStyleCnt="0">
        <dgm:presLayoutVars>
          <dgm:chMax/>
          <dgm:chPref/>
          <dgm:dir/>
          <dgm:animLvl val="lvl"/>
        </dgm:presLayoutVars>
      </dgm:prSet>
      <dgm:spPr/>
    </dgm:pt>
    <dgm:pt modelId="{4D4166F4-7033-4562-BEFB-799455F78B2C}" type="pres">
      <dgm:prSet presAssocID="{4DB6A422-6954-466E-88BF-A2250AACF4F2}" presName="composite" presStyleCnt="0"/>
      <dgm:spPr/>
    </dgm:pt>
    <dgm:pt modelId="{C3BDCA75-F718-4FBC-AE79-B5809DDF5632}" type="pres">
      <dgm:prSet presAssocID="{4DB6A422-6954-466E-88BF-A2250AACF4F2}" presName="LShape" presStyleLbl="alignNode1" presStyleIdx="0" presStyleCnt="7"/>
      <dgm:spPr/>
    </dgm:pt>
    <dgm:pt modelId="{1753B844-AA94-48B8-8C72-1ECCA8D90486}" type="pres">
      <dgm:prSet presAssocID="{4DB6A422-6954-466E-88BF-A2250AACF4F2}" presName="ParentText" presStyleLbl="revTx" presStyleIdx="0" presStyleCnt="4">
        <dgm:presLayoutVars>
          <dgm:chMax val="0"/>
          <dgm:chPref val="0"/>
          <dgm:bulletEnabled val="1"/>
        </dgm:presLayoutVars>
      </dgm:prSet>
      <dgm:spPr/>
    </dgm:pt>
    <dgm:pt modelId="{E514FF2F-730D-41EE-9E4E-956D18CDF170}" type="pres">
      <dgm:prSet presAssocID="{4DB6A422-6954-466E-88BF-A2250AACF4F2}" presName="Triangle" presStyleLbl="alignNode1" presStyleIdx="1" presStyleCnt="7" custLinFactNeighborX="5460" custLinFactNeighborY="38619"/>
      <dgm:spPr/>
    </dgm:pt>
    <dgm:pt modelId="{DF2EE376-ECE5-4407-9A1C-B89B574C4A62}" type="pres">
      <dgm:prSet presAssocID="{C79EC326-AEF2-4080-889C-CAF3C56F268B}" presName="sibTrans" presStyleCnt="0"/>
      <dgm:spPr/>
    </dgm:pt>
    <dgm:pt modelId="{B59E8F4F-1033-4D0F-9CCC-430B166C4625}" type="pres">
      <dgm:prSet presAssocID="{C79EC326-AEF2-4080-889C-CAF3C56F268B}" presName="space" presStyleCnt="0"/>
      <dgm:spPr/>
    </dgm:pt>
    <dgm:pt modelId="{E59771C6-7B95-4AA6-8653-0E70534E0632}" type="pres">
      <dgm:prSet presAssocID="{6FFD7AEA-A6DC-4907-9CC4-21DAADE566B9}" presName="composite" presStyleCnt="0"/>
      <dgm:spPr/>
    </dgm:pt>
    <dgm:pt modelId="{F59C1428-99DD-49A5-BCC1-86676F6621BC}" type="pres">
      <dgm:prSet presAssocID="{6FFD7AEA-A6DC-4907-9CC4-21DAADE566B9}" presName="LShape" presStyleLbl="alignNode1" presStyleIdx="2" presStyleCnt="7" custLinFactNeighborY="0"/>
      <dgm:spPr/>
    </dgm:pt>
    <dgm:pt modelId="{79C9F467-4F4D-4D84-AFF8-DF72E59907FF}" type="pres">
      <dgm:prSet presAssocID="{6FFD7AEA-A6DC-4907-9CC4-21DAADE566B9}" presName="ParentText" presStyleLbl="revTx" presStyleIdx="1" presStyleCnt="4">
        <dgm:presLayoutVars>
          <dgm:chMax val="0"/>
          <dgm:chPref val="0"/>
          <dgm:bulletEnabled val="1"/>
        </dgm:presLayoutVars>
      </dgm:prSet>
      <dgm:spPr/>
    </dgm:pt>
    <dgm:pt modelId="{E418DA97-7F14-45C8-AB1D-AAD8BCCB69C5}" type="pres">
      <dgm:prSet presAssocID="{6FFD7AEA-A6DC-4907-9CC4-21DAADE566B9}" presName="Triangle" presStyleLbl="alignNode1" presStyleIdx="3" presStyleCnt="7"/>
      <dgm:spPr/>
    </dgm:pt>
    <dgm:pt modelId="{3EA64033-B4CC-48B4-AA99-7BE01CABE25D}" type="pres">
      <dgm:prSet presAssocID="{D57DB845-D109-4948-898B-4CB439303B17}" presName="sibTrans" presStyleCnt="0"/>
      <dgm:spPr/>
    </dgm:pt>
    <dgm:pt modelId="{59430A28-8A80-4595-A9EB-02B011C8AEF4}" type="pres">
      <dgm:prSet presAssocID="{D57DB845-D109-4948-898B-4CB439303B17}" presName="space" presStyleCnt="0"/>
      <dgm:spPr/>
    </dgm:pt>
    <dgm:pt modelId="{059E78D1-A044-4DF6-908C-9CC216759191}" type="pres">
      <dgm:prSet presAssocID="{2BB96230-B4A2-4065-9BC9-72303740D8C7}" presName="composite" presStyleCnt="0"/>
      <dgm:spPr/>
    </dgm:pt>
    <dgm:pt modelId="{624A91F0-4443-4DDB-B497-1FF953973828}" type="pres">
      <dgm:prSet presAssocID="{2BB96230-B4A2-4065-9BC9-72303740D8C7}" presName="LShape" presStyleLbl="alignNode1" presStyleIdx="4" presStyleCnt="7"/>
      <dgm:spPr/>
    </dgm:pt>
    <dgm:pt modelId="{DB7274FD-CEA2-4454-AB09-A3133A81ACEA}" type="pres">
      <dgm:prSet presAssocID="{2BB96230-B4A2-4065-9BC9-72303740D8C7}" presName="ParentText" presStyleLbl="revTx" presStyleIdx="2" presStyleCnt="4">
        <dgm:presLayoutVars>
          <dgm:chMax val="0"/>
          <dgm:chPref val="0"/>
          <dgm:bulletEnabled val="1"/>
        </dgm:presLayoutVars>
      </dgm:prSet>
      <dgm:spPr/>
    </dgm:pt>
    <dgm:pt modelId="{18267FCE-F859-41DE-B997-37B7A4B9904F}" type="pres">
      <dgm:prSet presAssocID="{2BB96230-B4A2-4065-9BC9-72303740D8C7}" presName="Triangle" presStyleLbl="alignNode1" presStyleIdx="5" presStyleCnt="7"/>
      <dgm:spPr/>
    </dgm:pt>
    <dgm:pt modelId="{8092341C-AB2E-47C6-B983-E9553C432648}" type="pres">
      <dgm:prSet presAssocID="{AC3F076E-8C3A-417A-AD95-37B0845C4515}" presName="sibTrans" presStyleCnt="0"/>
      <dgm:spPr/>
    </dgm:pt>
    <dgm:pt modelId="{DB21A9BF-E9C8-4A67-A69F-AC7D35D557CE}" type="pres">
      <dgm:prSet presAssocID="{AC3F076E-8C3A-417A-AD95-37B0845C4515}" presName="space" presStyleCnt="0"/>
      <dgm:spPr/>
    </dgm:pt>
    <dgm:pt modelId="{895E05B1-A3DD-4CBC-B489-F4C0F40F7731}" type="pres">
      <dgm:prSet presAssocID="{C740F466-F290-4FFB-9C8E-8E70E33CC908}" presName="composite" presStyleCnt="0"/>
      <dgm:spPr/>
    </dgm:pt>
    <dgm:pt modelId="{8565799F-2463-48F6-AA4D-BE9695B3A290}" type="pres">
      <dgm:prSet presAssocID="{C740F466-F290-4FFB-9C8E-8E70E33CC908}" presName="LShape" presStyleLbl="alignNode1" presStyleIdx="6" presStyleCnt="7"/>
      <dgm:spPr>
        <a:blipFill rotWithShape="0">
          <a:blip xmlns:r="http://schemas.openxmlformats.org/officeDocument/2006/relationships" r:embed="rId1"/>
          <a:srcRect/>
          <a:stretch>
            <a:fillRect/>
          </a:stretch>
        </a:blipFill>
      </dgm:spPr>
    </dgm:pt>
    <dgm:pt modelId="{AAC2F55E-BDA5-4D95-852E-9EF0A6CE1754}" type="pres">
      <dgm:prSet presAssocID="{C740F466-F290-4FFB-9C8E-8E70E33CC908}" presName="ParentText" presStyleLbl="revTx" presStyleIdx="3" presStyleCnt="4">
        <dgm:presLayoutVars>
          <dgm:chMax val="0"/>
          <dgm:chPref val="0"/>
          <dgm:bulletEnabled val="1"/>
        </dgm:presLayoutVars>
      </dgm:prSet>
      <dgm:spPr/>
    </dgm:pt>
  </dgm:ptLst>
  <dgm:cxnLst>
    <dgm:cxn modelId="{1A0B623E-324D-41D5-BC2F-D3EAF605F38C}" type="presOf" srcId="{06BBD21C-D46B-496A-8856-E17150713E9A}" destId="{A7E8E5E7-3F3B-4112-8C36-A815D2BDA7B3}" srcOrd="0" destOrd="0" presId="urn:microsoft.com/office/officeart/2009/3/layout/StepUpProcess"/>
    <dgm:cxn modelId="{525D4866-794A-4023-9EF4-ADADF1B1A916}" type="presOf" srcId="{6FFD7AEA-A6DC-4907-9CC4-21DAADE566B9}" destId="{79C9F467-4F4D-4D84-AFF8-DF72E59907FF}" srcOrd="0" destOrd="0" presId="urn:microsoft.com/office/officeart/2009/3/layout/StepUpProcess"/>
    <dgm:cxn modelId="{19072D8C-04A4-4E16-838D-372E8182D4F7}" type="presOf" srcId="{4DB6A422-6954-466E-88BF-A2250AACF4F2}" destId="{1753B844-AA94-48B8-8C72-1ECCA8D90486}" srcOrd="0" destOrd="0" presId="urn:microsoft.com/office/officeart/2009/3/layout/StepUpProcess"/>
    <dgm:cxn modelId="{98F65E9E-F423-4093-9755-01F5B7138FBF}" type="presOf" srcId="{2BB96230-B4A2-4065-9BC9-72303740D8C7}" destId="{DB7274FD-CEA2-4454-AB09-A3133A81ACEA}" srcOrd="0" destOrd="0" presId="urn:microsoft.com/office/officeart/2009/3/layout/StepUpProcess"/>
    <dgm:cxn modelId="{8C4009B1-1168-432D-89E6-0F3C7F2C5C83}" srcId="{06BBD21C-D46B-496A-8856-E17150713E9A}" destId="{6FFD7AEA-A6DC-4907-9CC4-21DAADE566B9}" srcOrd="1" destOrd="0" parTransId="{82C9D6D3-F093-4C00-908A-85C9FCBDAB3F}" sibTransId="{D57DB845-D109-4948-898B-4CB439303B17}"/>
    <dgm:cxn modelId="{20A621C8-A608-4FF7-BDA8-BF64ADDF1772}" srcId="{06BBD21C-D46B-496A-8856-E17150713E9A}" destId="{2BB96230-B4A2-4065-9BC9-72303740D8C7}" srcOrd="2" destOrd="0" parTransId="{2E59B89E-9B3B-4F21-ACC6-3343A7ADE13C}" sibTransId="{AC3F076E-8C3A-417A-AD95-37B0845C4515}"/>
    <dgm:cxn modelId="{336946D5-A8D1-482A-8F1F-D9E5D8B7C95F}" type="presOf" srcId="{C740F466-F290-4FFB-9C8E-8E70E33CC908}" destId="{AAC2F55E-BDA5-4D95-852E-9EF0A6CE1754}" srcOrd="0" destOrd="0" presId="urn:microsoft.com/office/officeart/2009/3/layout/StepUpProcess"/>
    <dgm:cxn modelId="{35EFF5D8-E889-4798-8DF0-FF31DA8C8C36}" srcId="{06BBD21C-D46B-496A-8856-E17150713E9A}" destId="{4DB6A422-6954-466E-88BF-A2250AACF4F2}" srcOrd="0" destOrd="0" parTransId="{6E8EBAFB-3E83-49CB-95CA-6805C4AC8EEA}" sibTransId="{C79EC326-AEF2-4080-889C-CAF3C56F268B}"/>
    <dgm:cxn modelId="{2C7923DE-1584-4C37-AAA4-DD23971F06E1}" srcId="{06BBD21C-D46B-496A-8856-E17150713E9A}" destId="{C740F466-F290-4FFB-9C8E-8E70E33CC908}" srcOrd="3" destOrd="0" parTransId="{4D3B41D4-8BF1-4B1D-B381-4FF3FEAA580F}" sibTransId="{705561A4-3556-49B8-ACAF-1D891FD89DC3}"/>
    <dgm:cxn modelId="{2F14ED49-A9EC-4F19-A093-81411CF03AD3}" type="presParOf" srcId="{A7E8E5E7-3F3B-4112-8C36-A815D2BDA7B3}" destId="{4D4166F4-7033-4562-BEFB-799455F78B2C}" srcOrd="0" destOrd="0" presId="urn:microsoft.com/office/officeart/2009/3/layout/StepUpProcess"/>
    <dgm:cxn modelId="{50F2B1C0-BA43-4BA9-8C23-9EAFF04D5B05}" type="presParOf" srcId="{4D4166F4-7033-4562-BEFB-799455F78B2C}" destId="{C3BDCA75-F718-4FBC-AE79-B5809DDF5632}" srcOrd="0" destOrd="0" presId="urn:microsoft.com/office/officeart/2009/3/layout/StepUpProcess"/>
    <dgm:cxn modelId="{5CB16911-CD56-4664-AD72-09057CC463B0}" type="presParOf" srcId="{4D4166F4-7033-4562-BEFB-799455F78B2C}" destId="{1753B844-AA94-48B8-8C72-1ECCA8D90486}" srcOrd="1" destOrd="0" presId="urn:microsoft.com/office/officeart/2009/3/layout/StepUpProcess"/>
    <dgm:cxn modelId="{305660F8-10E9-4598-B201-4AB95D8F794E}" type="presParOf" srcId="{4D4166F4-7033-4562-BEFB-799455F78B2C}" destId="{E514FF2F-730D-41EE-9E4E-956D18CDF170}" srcOrd="2" destOrd="0" presId="urn:microsoft.com/office/officeart/2009/3/layout/StepUpProcess"/>
    <dgm:cxn modelId="{97F35714-5DB1-4E7F-8371-426BC1D4CCC1}" type="presParOf" srcId="{A7E8E5E7-3F3B-4112-8C36-A815D2BDA7B3}" destId="{DF2EE376-ECE5-4407-9A1C-B89B574C4A62}" srcOrd="1" destOrd="0" presId="urn:microsoft.com/office/officeart/2009/3/layout/StepUpProcess"/>
    <dgm:cxn modelId="{517A0042-F830-4820-955F-09D76B7186BD}" type="presParOf" srcId="{DF2EE376-ECE5-4407-9A1C-B89B574C4A62}" destId="{B59E8F4F-1033-4D0F-9CCC-430B166C4625}" srcOrd="0" destOrd="0" presId="urn:microsoft.com/office/officeart/2009/3/layout/StepUpProcess"/>
    <dgm:cxn modelId="{ECA11460-F302-4E95-86CE-8B84D35468E2}" type="presParOf" srcId="{A7E8E5E7-3F3B-4112-8C36-A815D2BDA7B3}" destId="{E59771C6-7B95-4AA6-8653-0E70534E0632}" srcOrd="2" destOrd="0" presId="urn:microsoft.com/office/officeart/2009/3/layout/StepUpProcess"/>
    <dgm:cxn modelId="{822E75F5-09D4-4CEB-92F1-8C3A2F33F03D}" type="presParOf" srcId="{E59771C6-7B95-4AA6-8653-0E70534E0632}" destId="{F59C1428-99DD-49A5-BCC1-86676F6621BC}" srcOrd="0" destOrd="0" presId="urn:microsoft.com/office/officeart/2009/3/layout/StepUpProcess"/>
    <dgm:cxn modelId="{11156E68-1EFF-4D24-88D5-2168C046F186}" type="presParOf" srcId="{E59771C6-7B95-4AA6-8653-0E70534E0632}" destId="{79C9F467-4F4D-4D84-AFF8-DF72E59907FF}" srcOrd="1" destOrd="0" presId="urn:microsoft.com/office/officeart/2009/3/layout/StepUpProcess"/>
    <dgm:cxn modelId="{A89C780E-BA5B-4230-BF0E-88E75F64AB86}" type="presParOf" srcId="{E59771C6-7B95-4AA6-8653-0E70534E0632}" destId="{E418DA97-7F14-45C8-AB1D-AAD8BCCB69C5}" srcOrd="2" destOrd="0" presId="urn:microsoft.com/office/officeart/2009/3/layout/StepUpProcess"/>
    <dgm:cxn modelId="{3C7EF69E-C867-47B1-B11A-600E83AB6E1F}" type="presParOf" srcId="{A7E8E5E7-3F3B-4112-8C36-A815D2BDA7B3}" destId="{3EA64033-B4CC-48B4-AA99-7BE01CABE25D}" srcOrd="3" destOrd="0" presId="urn:microsoft.com/office/officeart/2009/3/layout/StepUpProcess"/>
    <dgm:cxn modelId="{FEF1DF49-97EB-4814-A743-6D648F64E3E0}" type="presParOf" srcId="{3EA64033-B4CC-48B4-AA99-7BE01CABE25D}" destId="{59430A28-8A80-4595-A9EB-02B011C8AEF4}" srcOrd="0" destOrd="0" presId="urn:microsoft.com/office/officeart/2009/3/layout/StepUpProcess"/>
    <dgm:cxn modelId="{43E16CF3-A567-4D40-99F6-6E3C5103F4D4}" type="presParOf" srcId="{A7E8E5E7-3F3B-4112-8C36-A815D2BDA7B3}" destId="{059E78D1-A044-4DF6-908C-9CC216759191}" srcOrd="4" destOrd="0" presId="urn:microsoft.com/office/officeart/2009/3/layout/StepUpProcess"/>
    <dgm:cxn modelId="{9B97BF32-05E1-4068-A78B-A231A2CBED88}" type="presParOf" srcId="{059E78D1-A044-4DF6-908C-9CC216759191}" destId="{624A91F0-4443-4DDB-B497-1FF953973828}" srcOrd="0" destOrd="0" presId="urn:microsoft.com/office/officeart/2009/3/layout/StepUpProcess"/>
    <dgm:cxn modelId="{4A5D726D-4A3B-4556-B68A-AE37DCAB0652}" type="presParOf" srcId="{059E78D1-A044-4DF6-908C-9CC216759191}" destId="{DB7274FD-CEA2-4454-AB09-A3133A81ACEA}" srcOrd="1" destOrd="0" presId="urn:microsoft.com/office/officeart/2009/3/layout/StepUpProcess"/>
    <dgm:cxn modelId="{6DCDFB5E-9394-44D8-99B1-80F41CD7F372}" type="presParOf" srcId="{059E78D1-A044-4DF6-908C-9CC216759191}" destId="{18267FCE-F859-41DE-B997-37B7A4B9904F}" srcOrd="2" destOrd="0" presId="urn:microsoft.com/office/officeart/2009/3/layout/StepUpProcess"/>
    <dgm:cxn modelId="{00719E3F-30E5-4D0D-866C-A620E29FF3AA}" type="presParOf" srcId="{A7E8E5E7-3F3B-4112-8C36-A815D2BDA7B3}" destId="{8092341C-AB2E-47C6-B983-E9553C432648}" srcOrd="5" destOrd="0" presId="urn:microsoft.com/office/officeart/2009/3/layout/StepUpProcess"/>
    <dgm:cxn modelId="{80D3730C-E693-4700-88E3-0760A7DB84D5}" type="presParOf" srcId="{8092341C-AB2E-47C6-B983-E9553C432648}" destId="{DB21A9BF-E9C8-4A67-A69F-AC7D35D557CE}" srcOrd="0" destOrd="0" presId="urn:microsoft.com/office/officeart/2009/3/layout/StepUpProcess"/>
    <dgm:cxn modelId="{6F5ED1DA-8EE5-477B-BF68-86AD3D36CF83}" type="presParOf" srcId="{A7E8E5E7-3F3B-4112-8C36-A815D2BDA7B3}" destId="{895E05B1-A3DD-4CBC-B489-F4C0F40F7731}" srcOrd="6" destOrd="0" presId="urn:microsoft.com/office/officeart/2009/3/layout/StepUpProcess"/>
    <dgm:cxn modelId="{B5D5EBAB-F526-4CAA-8F41-6AC2B6EF6DEB}" type="presParOf" srcId="{895E05B1-A3DD-4CBC-B489-F4C0F40F7731}" destId="{8565799F-2463-48F6-AA4D-BE9695B3A290}" srcOrd="0" destOrd="0" presId="urn:microsoft.com/office/officeart/2009/3/layout/StepUpProcess"/>
    <dgm:cxn modelId="{D648ECA8-B596-458B-8474-EE1A828474B1}" type="presParOf" srcId="{895E05B1-A3DD-4CBC-B489-F4C0F40F7731}" destId="{AAC2F55E-BDA5-4D95-852E-9EF0A6CE1754}" srcOrd="1" destOrd="0" presId="urn:microsoft.com/office/officeart/2009/3/layout/StepUpProcess"/>
  </dgm:cxnLst>
  <dgm:bg>
    <a:noFill/>
  </dgm:bg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A5768C11-AC2D-49BF-A71A-D6EDAC4E4A19}" type="doc">
      <dgm:prSet loTypeId="urn:microsoft.com/office/officeart/2005/8/layout/hierarchy3" loCatId="relationship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0989693D-CB0C-4F9B-BD54-51D7E6C4FCE8}">
      <dgm:prSet phldrT="[Текст]" custT="1"/>
      <dgm:spPr/>
      <dgm:t>
        <a:bodyPr/>
        <a:lstStyle/>
        <a:p>
          <a:r>
            <a:rPr lang="ru-RU" sz="4000" dirty="0">
              <a:latin typeface="Times New Roman" panose="02020603050405020304" pitchFamily="18" charset="0"/>
              <a:cs typeface="Times New Roman" panose="02020603050405020304" pitchFamily="18" charset="0"/>
            </a:rPr>
            <a:t>Международные  образовательные стандарты</a:t>
          </a:r>
        </a:p>
      </dgm:t>
    </dgm:pt>
    <dgm:pt modelId="{A3CC7DFF-DBC2-4022-A7DA-8D13AE8ED142}" type="parTrans" cxnId="{F908B437-6A42-4749-AECA-00D72F018C66}">
      <dgm:prSet/>
      <dgm:spPr/>
      <dgm:t>
        <a:bodyPr/>
        <a:lstStyle/>
        <a:p>
          <a:endParaRPr lang="ru-RU"/>
        </a:p>
      </dgm:t>
    </dgm:pt>
    <dgm:pt modelId="{1959EFA3-1687-4ACA-9775-913CD608F41B}" type="sibTrans" cxnId="{F908B437-6A42-4749-AECA-00D72F018C66}">
      <dgm:prSet/>
      <dgm:spPr/>
      <dgm:t>
        <a:bodyPr/>
        <a:lstStyle/>
        <a:p>
          <a:endParaRPr lang="ru-RU"/>
        </a:p>
      </dgm:t>
    </dgm:pt>
    <dgm:pt modelId="{D3C2416C-5A75-4AA0-8C86-834F1B10D18E}">
      <dgm:prSet phldrT="[Текст]" custT="1"/>
      <dgm:spPr/>
      <dgm:t>
        <a:bodyPr/>
        <a:lstStyle/>
        <a:p>
          <a:pPr algn="l"/>
          <a:r>
            <a:rPr lang="ru-RU" sz="3200" b="1" dirty="0">
              <a:latin typeface="Times New Roman" panose="02020603050405020304" pitchFamily="18" charset="0"/>
              <a:cs typeface="Times New Roman" panose="02020603050405020304" pitchFamily="18" charset="0"/>
            </a:rPr>
            <a:t>Читательская грамотность</a:t>
          </a:r>
        </a:p>
      </dgm:t>
    </dgm:pt>
    <dgm:pt modelId="{A1DF93A8-F6F7-49FF-B652-E801467B4359}" type="parTrans" cxnId="{896ADA9C-598B-4E2E-B65A-B1F270BEC902}">
      <dgm:prSet/>
      <dgm:spPr/>
      <dgm:t>
        <a:bodyPr/>
        <a:lstStyle/>
        <a:p>
          <a:endParaRPr lang="ru-RU"/>
        </a:p>
      </dgm:t>
    </dgm:pt>
    <dgm:pt modelId="{A1C01A4A-2182-4863-A6A5-20EBB23DD347}" type="sibTrans" cxnId="{896ADA9C-598B-4E2E-B65A-B1F270BEC902}">
      <dgm:prSet/>
      <dgm:spPr/>
      <dgm:t>
        <a:bodyPr/>
        <a:lstStyle/>
        <a:p>
          <a:endParaRPr lang="ru-RU"/>
        </a:p>
      </dgm:t>
    </dgm:pt>
    <dgm:pt modelId="{D84FC489-FAAE-47FE-AB6E-BF6ED724997F}">
      <dgm:prSet phldrT="[Текст]" custT="1"/>
      <dgm:spPr/>
      <dgm:t>
        <a:bodyPr/>
        <a:lstStyle/>
        <a:p>
          <a:pPr algn="l"/>
          <a:r>
            <a:rPr lang="ru-RU" sz="3200" b="1" dirty="0">
              <a:latin typeface="Times New Roman" panose="02020603050405020304" pitchFamily="18" charset="0"/>
              <a:cs typeface="Times New Roman" panose="02020603050405020304" pitchFamily="18" charset="0"/>
            </a:rPr>
            <a:t>Финансовая грамотность</a:t>
          </a:r>
        </a:p>
      </dgm:t>
    </dgm:pt>
    <dgm:pt modelId="{20B997BB-8613-47F9-80FB-27C28F36DE9D}" type="parTrans" cxnId="{5302A630-7A45-4D5C-987B-6267220E5CD7}">
      <dgm:prSet/>
      <dgm:spPr/>
      <dgm:t>
        <a:bodyPr/>
        <a:lstStyle/>
        <a:p>
          <a:endParaRPr lang="ru-RU"/>
        </a:p>
      </dgm:t>
    </dgm:pt>
    <dgm:pt modelId="{DA5FAD4C-9232-4753-A1B0-651500040203}" type="sibTrans" cxnId="{5302A630-7A45-4D5C-987B-6267220E5CD7}">
      <dgm:prSet/>
      <dgm:spPr/>
      <dgm:t>
        <a:bodyPr/>
        <a:lstStyle/>
        <a:p>
          <a:endParaRPr lang="ru-RU"/>
        </a:p>
      </dgm:t>
    </dgm:pt>
    <dgm:pt modelId="{14857AF0-CD17-434D-8409-4E70DF5BB1F1}">
      <dgm:prSet phldrT="[Текст]" custT="1"/>
      <dgm:spPr/>
      <dgm:t>
        <a:bodyPr/>
        <a:lstStyle/>
        <a:p>
          <a:r>
            <a:rPr lang="ru-RU" sz="4000" dirty="0">
              <a:latin typeface="Times New Roman" panose="02020603050405020304" pitchFamily="18" charset="0"/>
              <a:cs typeface="Times New Roman" panose="02020603050405020304" pitchFamily="18" charset="0"/>
            </a:rPr>
            <a:t>Формирование предпосылок функциональной грамотности</a:t>
          </a:r>
        </a:p>
      </dgm:t>
    </dgm:pt>
    <dgm:pt modelId="{95FB1DAA-8372-438A-9FD4-14F05E1CC5C7}" type="parTrans" cxnId="{1C570A8E-97DB-47A7-844D-18BEEEBA38C4}">
      <dgm:prSet/>
      <dgm:spPr/>
      <dgm:t>
        <a:bodyPr/>
        <a:lstStyle/>
        <a:p>
          <a:endParaRPr lang="ru-RU"/>
        </a:p>
      </dgm:t>
    </dgm:pt>
    <dgm:pt modelId="{0BE03D22-DFAD-4592-A446-77AC071E3BDD}" type="sibTrans" cxnId="{1C570A8E-97DB-47A7-844D-18BEEEBA38C4}">
      <dgm:prSet/>
      <dgm:spPr/>
      <dgm:t>
        <a:bodyPr/>
        <a:lstStyle/>
        <a:p>
          <a:endParaRPr lang="ru-RU"/>
        </a:p>
      </dgm:t>
    </dgm:pt>
    <dgm:pt modelId="{1C849A49-BFA3-42CB-BF88-31CD0D27F4D6}">
      <dgm:prSet phldrT="[Текст]" custT="1"/>
      <dgm:spPr/>
      <dgm:t>
        <a:bodyPr/>
        <a:lstStyle/>
        <a:p>
          <a:r>
            <a:rPr lang="ru-RU" sz="3200" b="1" dirty="0">
              <a:latin typeface="Times New Roman" panose="02020603050405020304" pitchFamily="18" charset="0"/>
              <a:cs typeface="Times New Roman" panose="02020603050405020304" pitchFamily="18" charset="0"/>
            </a:rPr>
            <a:t>Формирование речевой активности дошкольников</a:t>
          </a:r>
        </a:p>
      </dgm:t>
    </dgm:pt>
    <dgm:pt modelId="{64508BB4-7CC8-4EB3-A044-8A333E9E544D}" type="parTrans" cxnId="{CF6B6957-0ECE-4CA9-B047-A98BFF2C65C2}">
      <dgm:prSet/>
      <dgm:spPr/>
      <dgm:t>
        <a:bodyPr/>
        <a:lstStyle/>
        <a:p>
          <a:endParaRPr lang="ru-RU"/>
        </a:p>
      </dgm:t>
    </dgm:pt>
    <dgm:pt modelId="{D68B2AB0-1BF8-4A99-A504-C19C08707D60}" type="sibTrans" cxnId="{CF6B6957-0ECE-4CA9-B047-A98BFF2C65C2}">
      <dgm:prSet/>
      <dgm:spPr/>
      <dgm:t>
        <a:bodyPr/>
        <a:lstStyle/>
        <a:p>
          <a:endParaRPr lang="ru-RU"/>
        </a:p>
      </dgm:t>
    </dgm:pt>
    <dgm:pt modelId="{48DEDE39-C3C4-4EC8-816F-2D7C8499A028}">
      <dgm:prSet phldrT="[Текст]" custT="1"/>
      <dgm:spPr/>
      <dgm:t>
        <a:bodyPr/>
        <a:lstStyle/>
        <a:p>
          <a:r>
            <a:rPr lang="ru-RU" sz="3200" b="1" dirty="0">
              <a:latin typeface="Times New Roman" panose="02020603050405020304" pitchFamily="18" charset="0"/>
              <a:cs typeface="Times New Roman" panose="02020603050405020304" pitchFamily="18" charset="0"/>
            </a:rPr>
            <a:t>Формирование естественнонаучных представлений и основ экологической грамотности у дошкольников</a:t>
          </a:r>
        </a:p>
      </dgm:t>
    </dgm:pt>
    <dgm:pt modelId="{E25395A0-202E-4AB0-AF6A-768DBCF3602F}" type="parTrans" cxnId="{13C97A79-2DC8-430F-86D2-CA4CA70FD1EA}">
      <dgm:prSet/>
      <dgm:spPr/>
      <dgm:t>
        <a:bodyPr/>
        <a:lstStyle/>
        <a:p>
          <a:endParaRPr lang="ru-RU"/>
        </a:p>
      </dgm:t>
    </dgm:pt>
    <dgm:pt modelId="{A61195C3-41F0-4576-A26A-20C4C76AAD5E}" type="sibTrans" cxnId="{13C97A79-2DC8-430F-86D2-CA4CA70FD1EA}">
      <dgm:prSet/>
      <dgm:spPr/>
      <dgm:t>
        <a:bodyPr/>
        <a:lstStyle/>
        <a:p>
          <a:endParaRPr lang="ru-RU"/>
        </a:p>
      </dgm:t>
    </dgm:pt>
    <dgm:pt modelId="{588506C3-15C7-47C1-B8C4-67462B233F49}">
      <dgm:prSet custT="1"/>
      <dgm:spPr/>
      <dgm:t>
        <a:bodyPr/>
        <a:lstStyle/>
        <a:p>
          <a:pPr algn="l"/>
          <a:r>
            <a:rPr lang="ru-RU" sz="3200" b="1" dirty="0">
              <a:latin typeface="Times New Roman" panose="02020603050405020304" pitchFamily="18" charset="0"/>
              <a:cs typeface="Times New Roman" panose="02020603050405020304" pitchFamily="18" charset="0"/>
            </a:rPr>
            <a:t>Математическая грамотность</a:t>
          </a:r>
        </a:p>
      </dgm:t>
    </dgm:pt>
    <dgm:pt modelId="{506A7935-555B-4AC6-B091-CFF0BFE7815C}" type="parTrans" cxnId="{6016A8D4-0F67-40EB-9DC4-E06962217362}">
      <dgm:prSet/>
      <dgm:spPr/>
      <dgm:t>
        <a:bodyPr/>
        <a:lstStyle/>
        <a:p>
          <a:endParaRPr lang="ru-RU"/>
        </a:p>
      </dgm:t>
    </dgm:pt>
    <dgm:pt modelId="{FC2EF348-609A-4C48-935A-456B6CDFF43C}" type="sibTrans" cxnId="{6016A8D4-0F67-40EB-9DC4-E06962217362}">
      <dgm:prSet/>
      <dgm:spPr/>
      <dgm:t>
        <a:bodyPr/>
        <a:lstStyle/>
        <a:p>
          <a:endParaRPr lang="ru-RU"/>
        </a:p>
      </dgm:t>
    </dgm:pt>
    <dgm:pt modelId="{50312315-45E3-403E-9D77-2A2AA697A669}">
      <dgm:prSet custT="1"/>
      <dgm:spPr/>
      <dgm:t>
        <a:bodyPr/>
        <a:lstStyle/>
        <a:p>
          <a:pPr algn="l"/>
          <a:r>
            <a:rPr lang="ru-RU" sz="3200" b="1" dirty="0">
              <a:latin typeface="Times New Roman" panose="02020603050405020304" pitchFamily="18" charset="0"/>
              <a:cs typeface="Times New Roman" panose="02020603050405020304" pitchFamily="18" charset="0"/>
            </a:rPr>
            <a:t>Естественно-научная грамотность</a:t>
          </a:r>
        </a:p>
      </dgm:t>
    </dgm:pt>
    <dgm:pt modelId="{28E7E680-61C6-418C-A657-1032B11E7A7D}" type="parTrans" cxnId="{B16B70B0-A247-4485-AB6F-E8D648C72EB8}">
      <dgm:prSet/>
      <dgm:spPr/>
      <dgm:t>
        <a:bodyPr/>
        <a:lstStyle/>
        <a:p>
          <a:endParaRPr lang="ru-RU"/>
        </a:p>
      </dgm:t>
    </dgm:pt>
    <dgm:pt modelId="{7B93362A-CE59-48AF-9E5D-5B506E1C7DFC}" type="sibTrans" cxnId="{B16B70B0-A247-4485-AB6F-E8D648C72EB8}">
      <dgm:prSet/>
      <dgm:spPr/>
      <dgm:t>
        <a:bodyPr/>
        <a:lstStyle/>
        <a:p>
          <a:endParaRPr lang="ru-RU"/>
        </a:p>
      </dgm:t>
    </dgm:pt>
    <dgm:pt modelId="{309C5B3C-4FAF-4B90-B738-70954AEF0E1A}">
      <dgm:prSet custT="1"/>
      <dgm:spPr/>
      <dgm:t>
        <a:bodyPr/>
        <a:lstStyle/>
        <a:p>
          <a:pPr algn="l"/>
          <a:r>
            <a:rPr lang="ru-RU" sz="3200" b="1" dirty="0">
              <a:latin typeface="Times New Roman" panose="02020603050405020304" pitchFamily="18" charset="0"/>
              <a:cs typeface="Times New Roman" panose="02020603050405020304" pitchFamily="18" charset="0"/>
            </a:rPr>
            <a:t>Глобальные компетенции</a:t>
          </a:r>
        </a:p>
      </dgm:t>
    </dgm:pt>
    <dgm:pt modelId="{226A9AFC-D8A2-4A1E-A474-440019140561}" type="parTrans" cxnId="{83953235-3C95-462D-BA4E-636C0C07C29C}">
      <dgm:prSet/>
      <dgm:spPr/>
      <dgm:t>
        <a:bodyPr/>
        <a:lstStyle/>
        <a:p>
          <a:endParaRPr lang="ru-RU"/>
        </a:p>
      </dgm:t>
    </dgm:pt>
    <dgm:pt modelId="{F6ED9CCA-080F-4905-B03C-3DDF113C58DD}" type="sibTrans" cxnId="{83953235-3C95-462D-BA4E-636C0C07C29C}">
      <dgm:prSet/>
      <dgm:spPr/>
      <dgm:t>
        <a:bodyPr/>
        <a:lstStyle/>
        <a:p>
          <a:endParaRPr lang="ru-RU"/>
        </a:p>
      </dgm:t>
    </dgm:pt>
    <dgm:pt modelId="{D69DA89B-D083-4FE5-986E-17789D5D865E}">
      <dgm:prSet custT="1"/>
      <dgm:spPr/>
      <dgm:t>
        <a:bodyPr/>
        <a:lstStyle/>
        <a:p>
          <a:r>
            <a:rPr lang="ru-RU" sz="3200" b="1" dirty="0">
              <a:latin typeface="Times New Roman" panose="02020603050405020304" pitchFamily="18" charset="0"/>
              <a:cs typeface="Times New Roman" panose="02020603050405020304" pitchFamily="18" charset="0"/>
            </a:rPr>
            <a:t>Формирование математической грамотности детей дошкольного возраста</a:t>
          </a:r>
        </a:p>
      </dgm:t>
    </dgm:pt>
    <dgm:pt modelId="{15153398-4768-4165-829C-17D9B2CD2FEB}" type="parTrans" cxnId="{F0A12318-23F4-4D9A-AD44-6BBE144E9688}">
      <dgm:prSet/>
      <dgm:spPr/>
      <dgm:t>
        <a:bodyPr/>
        <a:lstStyle/>
        <a:p>
          <a:endParaRPr lang="ru-RU"/>
        </a:p>
      </dgm:t>
    </dgm:pt>
    <dgm:pt modelId="{6A2DA53A-6B8E-420F-99FB-9909A05FD5CE}" type="sibTrans" cxnId="{F0A12318-23F4-4D9A-AD44-6BBE144E9688}">
      <dgm:prSet/>
      <dgm:spPr/>
      <dgm:t>
        <a:bodyPr/>
        <a:lstStyle/>
        <a:p>
          <a:endParaRPr lang="ru-RU"/>
        </a:p>
      </dgm:t>
    </dgm:pt>
    <dgm:pt modelId="{61D2CB31-E3CA-4132-ABF3-B2957FDB8189}">
      <dgm:prSet custT="1"/>
      <dgm:spPr/>
      <dgm:t>
        <a:bodyPr/>
        <a:lstStyle/>
        <a:p>
          <a:r>
            <a:rPr lang="ru-RU" sz="3200" b="1" dirty="0">
              <a:latin typeface="Times New Roman" panose="02020603050405020304" pitchFamily="18" charset="0"/>
              <a:cs typeface="Times New Roman" panose="02020603050405020304" pitchFamily="18" charset="0"/>
            </a:rPr>
            <a:t>Формирование финансовой грамотности  дошкольников</a:t>
          </a:r>
        </a:p>
      </dgm:t>
    </dgm:pt>
    <dgm:pt modelId="{36BB36FC-BE64-4C47-AD46-6FAAFB48428C}" type="parTrans" cxnId="{A84D285C-FF3A-4B36-A6AE-87B40B6B339B}">
      <dgm:prSet/>
      <dgm:spPr/>
      <dgm:t>
        <a:bodyPr/>
        <a:lstStyle/>
        <a:p>
          <a:endParaRPr lang="ru-RU"/>
        </a:p>
      </dgm:t>
    </dgm:pt>
    <dgm:pt modelId="{1694F956-5F6F-447F-BD48-1AF314112E6B}" type="sibTrans" cxnId="{A84D285C-FF3A-4B36-A6AE-87B40B6B339B}">
      <dgm:prSet/>
      <dgm:spPr/>
      <dgm:t>
        <a:bodyPr/>
        <a:lstStyle/>
        <a:p>
          <a:endParaRPr lang="ru-RU"/>
        </a:p>
      </dgm:t>
    </dgm:pt>
    <dgm:pt modelId="{A6A665A3-F681-4903-9E6B-6C6CB8F8855B}">
      <dgm:prSet custT="1"/>
      <dgm:spPr/>
      <dgm:t>
        <a:bodyPr/>
        <a:lstStyle/>
        <a:p>
          <a:r>
            <a:rPr lang="ru-RU" sz="3200" b="1" dirty="0">
              <a:latin typeface="Times New Roman" panose="02020603050405020304" pitchFamily="18" charset="0"/>
              <a:cs typeface="Times New Roman" panose="02020603050405020304" pitchFamily="18" charset="0"/>
            </a:rPr>
            <a:t>Формирование социально-коммуникативной грамотности на уровне дошкольного образования</a:t>
          </a:r>
        </a:p>
      </dgm:t>
    </dgm:pt>
    <dgm:pt modelId="{09FAB467-E43F-4800-865B-ED08B4507C08}" type="parTrans" cxnId="{2B029956-3C4E-4504-B084-CC5E776612AA}">
      <dgm:prSet/>
      <dgm:spPr/>
      <dgm:t>
        <a:bodyPr/>
        <a:lstStyle/>
        <a:p>
          <a:endParaRPr lang="ru-RU"/>
        </a:p>
      </dgm:t>
    </dgm:pt>
    <dgm:pt modelId="{837249E3-65D1-4CD5-BAB5-99D5C38FEDEE}" type="sibTrans" cxnId="{2B029956-3C4E-4504-B084-CC5E776612AA}">
      <dgm:prSet/>
      <dgm:spPr/>
      <dgm:t>
        <a:bodyPr/>
        <a:lstStyle/>
        <a:p>
          <a:endParaRPr lang="ru-RU"/>
        </a:p>
      </dgm:t>
    </dgm:pt>
    <dgm:pt modelId="{369ED373-E8FA-4EC9-9648-07469727AC3B}" type="pres">
      <dgm:prSet presAssocID="{A5768C11-AC2D-49BF-A71A-D6EDAC4E4A19}" presName="diagram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FF096583-155C-4FC0-B5EA-BE909507BDEF}" type="pres">
      <dgm:prSet presAssocID="{0989693D-CB0C-4F9B-BD54-51D7E6C4FCE8}" presName="root" presStyleCnt="0"/>
      <dgm:spPr/>
    </dgm:pt>
    <dgm:pt modelId="{52F1AFE7-F614-4B17-9234-22EC4145B4D2}" type="pres">
      <dgm:prSet presAssocID="{0989693D-CB0C-4F9B-BD54-51D7E6C4FCE8}" presName="rootComposite" presStyleCnt="0"/>
      <dgm:spPr/>
    </dgm:pt>
    <dgm:pt modelId="{D782CF55-0C9F-41D0-BD44-4D887FCAEA46}" type="pres">
      <dgm:prSet presAssocID="{0989693D-CB0C-4F9B-BD54-51D7E6C4FCE8}" presName="rootText" presStyleLbl="node1" presStyleIdx="0" presStyleCnt="2" custScaleX="407688" custScaleY="151046"/>
      <dgm:spPr/>
    </dgm:pt>
    <dgm:pt modelId="{ACF8C30C-1EA4-4F09-A676-4597B6307CFB}" type="pres">
      <dgm:prSet presAssocID="{0989693D-CB0C-4F9B-BD54-51D7E6C4FCE8}" presName="rootConnector" presStyleLbl="node1" presStyleIdx="0" presStyleCnt="2"/>
      <dgm:spPr/>
    </dgm:pt>
    <dgm:pt modelId="{B9327558-78A9-4CAD-B6CE-A9D350C7342F}" type="pres">
      <dgm:prSet presAssocID="{0989693D-CB0C-4F9B-BD54-51D7E6C4FCE8}" presName="childShape" presStyleCnt="0"/>
      <dgm:spPr/>
    </dgm:pt>
    <dgm:pt modelId="{A8480688-175E-4FAA-BC82-78CF3D10395C}" type="pres">
      <dgm:prSet presAssocID="{A1DF93A8-F6F7-49FF-B652-E801467B4359}" presName="Name13" presStyleLbl="parChTrans1D2" presStyleIdx="0" presStyleCnt="10"/>
      <dgm:spPr/>
    </dgm:pt>
    <dgm:pt modelId="{0AAA182A-D556-4180-8CEA-5497022EEE7A}" type="pres">
      <dgm:prSet presAssocID="{D3C2416C-5A75-4AA0-8C86-834F1B10D18E}" presName="childText" presStyleLbl="bgAcc1" presStyleIdx="0" presStyleCnt="10" custScaleX="509731" custScaleY="116678" custLinFactNeighborX="-18560" custLinFactNeighborY="-4734">
        <dgm:presLayoutVars>
          <dgm:bulletEnabled val="1"/>
        </dgm:presLayoutVars>
      </dgm:prSet>
      <dgm:spPr/>
    </dgm:pt>
    <dgm:pt modelId="{2AF0545D-C39F-4712-BC64-FAE715C2EB59}" type="pres">
      <dgm:prSet presAssocID="{28E7E680-61C6-418C-A657-1032B11E7A7D}" presName="Name13" presStyleLbl="parChTrans1D2" presStyleIdx="1" presStyleCnt="10"/>
      <dgm:spPr/>
    </dgm:pt>
    <dgm:pt modelId="{9C183AA0-56DD-46B2-A15C-AEF63E9DE87C}" type="pres">
      <dgm:prSet presAssocID="{50312315-45E3-403E-9D77-2A2AA697A669}" presName="childText" presStyleLbl="bgAcc1" presStyleIdx="1" presStyleCnt="10" custScaleX="514179" custScaleY="111580" custLinFactNeighborX="-18560" custLinFactNeighborY="-3339">
        <dgm:presLayoutVars>
          <dgm:bulletEnabled val="1"/>
        </dgm:presLayoutVars>
      </dgm:prSet>
      <dgm:spPr/>
    </dgm:pt>
    <dgm:pt modelId="{B9A2375F-794D-4B4B-B9F1-BD0A4539935F}" type="pres">
      <dgm:prSet presAssocID="{506A7935-555B-4AC6-B091-CFF0BFE7815C}" presName="Name13" presStyleLbl="parChTrans1D2" presStyleIdx="2" presStyleCnt="10"/>
      <dgm:spPr/>
    </dgm:pt>
    <dgm:pt modelId="{01F7728E-9E73-4D34-9CCE-2A32289553F5}" type="pres">
      <dgm:prSet presAssocID="{588506C3-15C7-47C1-B8C4-67462B233F49}" presName="childText" presStyleLbl="bgAcc1" presStyleIdx="2" presStyleCnt="10" custScaleX="516892" custScaleY="111441" custLinFactNeighborX="-18560" custLinFactNeighborY="4532">
        <dgm:presLayoutVars>
          <dgm:bulletEnabled val="1"/>
        </dgm:presLayoutVars>
      </dgm:prSet>
      <dgm:spPr/>
    </dgm:pt>
    <dgm:pt modelId="{094050AD-FE99-4D43-B14A-011E1846089C}" type="pres">
      <dgm:prSet presAssocID="{20B997BB-8613-47F9-80FB-27C28F36DE9D}" presName="Name13" presStyleLbl="parChTrans1D2" presStyleIdx="3" presStyleCnt="10"/>
      <dgm:spPr/>
    </dgm:pt>
    <dgm:pt modelId="{92199D01-057D-4EDF-B56F-68407185B608}" type="pres">
      <dgm:prSet presAssocID="{D84FC489-FAAE-47FE-AB6E-BF6ED724997F}" presName="childText" presStyleLbl="bgAcc1" presStyleIdx="3" presStyleCnt="10" custScaleX="512775" custScaleY="111440" custLinFactNeighborX="-24203" custLinFactNeighborY="-8336">
        <dgm:presLayoutVars>
          <dgm:bulletEnabled val="1"/>
        </dgm:presLayoutVars>
      </dgm:prSet>
      <dgm:spPr/>
    </dgm:pt>
    <dgm:pt modelId="{D22D7BB4-A631-441C-9B20-E9741B2F1FD8}" type="pres">
      <dgm:prSet presAssocID="{226A9AFC-D8A2-4A1E-A474-440019140561}" presName="Name13" presStyleLbl="parChTrans1D2" presStyleIdx="4" presStyleCnt="10"/>
      <dgm:spPr/>
    </dgm:pt>
    <dgm:pt modelId="{232F7B38-354B-40D2-B0C1-98565A37DA3A}" type="pres">
      <dgm:prSet presAssocID="{309C5B3C-4FAF-4B90-B738-70954AEF0E1A}" presName="childText" presStyleLbl="bgAcc1" presStyleIdx="4" presStyleCnt="10" custScaleX="505607" custScaleY="105234" custLinFactNeighborX="-24203" custLinFactNeighborY="-3149">
        <dgm:presLayoutVars>
          <dgm:bulletEnabled val="1"/>
        </dgm:presLayoutVars>
      </dgm:prSet>
      <dgm:spPr/>
    </dgm:pt>
    <dgm:pt modelId="{FF214576-0AB9-4407-9B6F-A509F66FBDF9}" type="pres">
      <dgm:prSet presAssocID="{14857AF0-CD17-434D-8409-4E70DF5BB1F1}" presName="root" presStyleCnt="0"/>
      <dgm:spPr/>
    </dgm:pt>
    <dgm:pt modelId="{63BE86F7-23FD-4233-A415-0E401D25AE08}" type="pres">
      <dgm:prSet presAssocID="{14857AF0-CD17-434D-8409-4E70DF5BB1F1}" presName="rootComposite" presStyleCnt="0"/>
      <dgm:spPr/>
    </dgm:pt>
    <dgm:pt modelId="{5282A470-85E3-4ED9-BF3A-C5E2763C8280}" type="pres">
      <dgm:prSet presAssocID="{14857AF0-CD17-434D-8409-4E70DF5BB1F1}" presName="rootText" presStyleLbl="node1" presStyleIdx="1" presStyleCnt="2" custScaleX="510628" custScaleY="149133" custLinFactNeighborX="26793" custLinFactNeighborY="-3896"/>
      <dgm:spPr/>
    </dgm:pt>
    <dgm:pt modelId="{3AE81C25-EA4A-4A4B-9FDB-35BF445638E5}" type="pres">
      <dgm:prSet presAssocID="{14857AF0-CD17-434D-8409-4E70DF5BB1F1}" presName="rootConnector" presStyleLbl="node1" presStyleIdx="1" presStyleCnt="2"/>
      <dgm:spPr/>
    </dgm:pt>
    <dgm:pt modelId="{78FB35E4-3590-458F-B7F2-1227DAC95135}" type="pres">
      <dgm:prSet presAssocID="{14857AF0-CD17-434D-8409-4E70DF5BB1F1}" presName="childShape" presStyleCnt="0"/>
      <dgm:spPr/>
    </dgm:pt>
    <dgm:pt modelId="{1A84D553-B06D-417F-924B-DEDB49D81ABE}" type="pres">
      <dgm:prSet presAssocID="{64508BB4-7CC8-4EB3-A044-8A333E9E544D}" presName="Name13" presStyleLbl="parChTrans1D2" presStyleIdx="5" presStyleCnt="10"/>
      <dgm:spPr/>
    </dgm:pt>
    <dgm:pt modelId="{E0E7B904-4293-453B-B10B-1CC4EF635696}" type="pres">
      <dgm:prSet presAssocID="{1C849A49-BFA3-42CB-BF88-31CD0D27F4D6}" presName="childText" presStyleLbl="bgAcc1" presStyleIdx="5" presStyleCnt="10" custScaleX="543793" custScaleY="117085">
        <dgm:presLayoutVars>
          <dgm:bulletEnabled val="1"/>
        </dgm:presLayoutVars>
      </dgm:prSet>
      <dgm:spPr/>
    </dgm:pt>
    <dgm:pt modelId="{590BC89A-6CF3-4631-9C5B-857177320119}" type="pres">
      <dgm:prSet presAssocID="{E25395A0-202E-4AB0-AF6A-768DBCF3602F}" presName="Name13" presStyleLbl="parChTrans1D2" presStyleIdx="6" presStyleCnt="10"/>
      <dgm:spPr/>
    </dgm:pt>
    <dgm:pt modelId="{186A47BC-98C1-44A1-9A21-FB8FDC22A5AD}" type="pres">
      <dgm:prSet presAssocID="{48DEDE39-C3C4-4EC8-816F-2D7C8499A028}" presName="childText" presStyleLbl="bgAcc1" presStyleIdx="6" presStyleCnt="10" custScaleX="541632" custScaleY="160110">
        <dgm:presLayoutVars>
          <dgm:bulletEnabled val="1"/>
        </dgm:presLayoutVars>
      </dgm:prSet>
      <dgm:spPr/>
    </dgm:pt>
    <dgm:pt modelId="{15E6EF22-7AD4-49E0-83AB-20652B7641ED}" type="pres">
      <dgm:prSet presAssocID="{15153398-4768-4165-829C-17D9B2CD2FEB}" presName="Name13" presStyleLbl="parChTrans1D2" presStyleIdx="7" presStyleCnt="10"/>
      <dgm:spPr/>
    </dgm:pt>
    <dgm:pt modelId="{9A571369-CB08-42A6-956D-EF758DBB8A0A}" type="pres">
      <dgm:prSet presAssocID="{D69DA89B-D083-4FE5-986E-17789D5D865E}" presName="childText" presStyleLbl="bgAcc1" presStyleIdx="7" presStyleCnt="10" custScaleX="549067" custScaleY="144484">
        <dgm:presLayoutVars>
          <dgm:bulletEnabled val="1"/>
        </dgm:presLayoutVars>
      </dgm:prSet>
      <dgm:spPr/>
    </dgm:pt>
    <dgm:pt modelId="{D80243E3-05B3-4AC7-93B4-2DFE8F8D09A7}" type="pres">
      <dgm:prSet presAssocID="{36BB36FC-BE64-4C47-AD46-6FAAFB48428C}" presName="Name13" presStyleLbl="parChTrans1D2" presStyleIdx="8" presStyleCnt="10"/>
      <dgm:spPr/>
    </dgm:pt>
    <dgm:pt modelId="{B2C770C3-85B3-4604-ABFD-6196C169FB6C}" type="pres">
      <dgm:prSet presAssocID="{61D2CB31-E3CA-4132-ABF3-B2957FDB8189}" presName="childText" presStyleLbl="bgAcc1" presStyleIdx="8" presStyleCnt="10" custScaleX="540290" custScaleY="107320">
        <dgm:presLayoutVars>
          <dgm:bulletEnabled val="1"/>
        </dgm:presLayoutVars>
      </dgm:prSet>
      <dgm:spPr/>
    </dgm:pt>
    <dgm:pt modelId="{6C64E6B3-339F-4851-AD52-AF726542236E}" type="pres">
      <dgm:prSet presAssocID="{09FAB467-E43F-4800-865B-ED08B4507C08}" presName="Name13" presStyleLbl="parChTrans1D2" presStyleIdx="9" presStyleCnt="10"/>
      <dgm:spPr/>
    </dgm:pt>
    <dgm:pt modelId="{C37359CB-F6A4-462B-8454-DCC06F1DE060}" type="pres">
      <dgm:prSet presAssocID="{A6A665A3-F681-4903-9E6B-6C6CB8F8855B}" presName="childText" presStyleLbl="bgAcc1" presStyleIdx="9" presStyleCnt="10" custScaleX="539552" custScaleY="146962">
        <dgm:presLayoutVars>
          <dgm:bulletEnabled val="1"/>
        </dgm:presLayoutVars>
      </dgm:prSet>
      <dgm:spPr/>
    </dgm:pt>
  </dgm:ptLst>
  <dgm:cxnLst>
    <dgm:cxn modelId="{09985A00-CE62-4F00-A215-A2B9AFAE3B68}" type="presOf" srcId="{D69DA89B-D083-4FE5-986E-17789D5D865E}" destId="{9A571369-CB08-42A6-956D-EF758DBB8A0A}" srcOrd="0" destOrd="0" presId="urn:microsoft.com/office/officeart/2005/8/layout/hierarchy3"/>
    <dgm:cxn modelId="{0CF3F602-918F-4928-A372-52565A4EEDF3}" type="presOf" srcId="{A6A665A3-F681-4903-9E6B-6C6CB8F8855B}" destId="{C37359CB-F6A4-462B-8454-DCC06F1DE060}" srcOrd="0" destOrd="0" presId="urn:microsoft.com/office/officeart/2005/8/layout/hierarchy3"/>
    <dgm:cxn modelId="{E93C4C05-72B8-4F52-846E-32C7C857F4FB}" type="presOf" srcId="{588506C3-15C7-47C1-B8C4-67462B233F49}" destId="{01F7728E-9E73-4D34-9CCE-2A32289553F5}" srcOrd="0" destOrd="0" presId="urn:microsoft.com/office/officeart/2005/8/layout/hierarchy3"/>
    <dgm:cxn modelId="{C4CE5B0A-C15F-4A38-876D-603B505A33F6}" type="presOf" srcId="{14857AF0-CD17-434D-8409-4E70DF5BB1F1}" destId="{5282A470-85E3-4ED9-BF3A-C5E2763C8280}" srcOrd="0" destOrd="0" presId="urn:microsoft.com/office/officeart/2005/8/layout/hierarchy3"/>
    <dgm:cxn modelId="{7C91EB0B-5512-4AD8-8639-FEC51AB5300B}" type="presOf" srcId="{48DEDE39-C3C4-4EC8-816F-2D7C8499A028}" destId="{186A47BC-98C1-44A1-9A21-FB8FDC22A5AD}" srcOrd="0" destOrd="0" presId="urn:microsoft.com/office/officeart/2005/8/layout/hierarchy3"/>
    <dgm:cxn modelId="{0BC24215-34A4-4C5C-AE4E-3D7FACC47D20}" type="presOf" srcId="{28E7E680-61C6-418C-A657-1032B11E7A7D}" destId="{2AF0545D-C39F-4712-BC64-FAE715C2EB59}" srcOrd="0" destOrd="0" presId="urn:microsoft.com/office/officeart/2005/8/layout/hierarchy3"/>
    <dgm:cxn modelId="{F0A12318-23F4-4D9A-AD44-6BBE144E9688}" srcId="{14857AF0-CD17-434D-8409-4E70DF5BB1F1}" destId="{D69DA89B-D083-4FE5-986E-17789D5D865E}" srcOrd="2" destOrd="0" parTransId="{15153398-4768-4165-829C-17D9B2CD2FEB}" sibTransId="{6A2DA53A-6B8E-420F-99FB-9909A05FD5CE}"/>
    <dgm:cxn modelId="{2B982A1A-3050-4554-AACF-1B7236873938}" type="presOf" srcId="{15153398-4768-4165-829C-17D9B2CD2FEB}" destId="{15E6EF22-7AD4-49E0-83AB-20652B7641ED}" srcOrd="0" destOrd="0" presId="urn:microsoft.com/office/officeart/2005/8/layout/hierarchy3"/>
    <dgm:cxn modelId="{628DE91F-3714-496B-A0F9-40BBEFE33788}" type="presOf" srcId="{1C849A49-BFA3-42CB-BF88-31CD0D27F4D6}" destId="{E0E7B904-4293-453B-B10B-1CC4EF635696}" srcOrd="0" destOrd="0" presId="urn:microsoft.com/office/officeart/2005/8/layout/hierarchy3"/>
    <dgm:cxn modelId="{5302A630-7A45-4D5C-987B-6267220E5CD7}" srcId="{0989693D-CB0C-4F9B-BD54-51D7E6C4FCE8}" destId="{D84FC489-FAAE-47FE-AB6E-BF6ED724997F}" srcOrd="3" destOrd="0" parTransId="{20B997BB-8613-47F9-80FB-27C28F36DE9D}" sibTransId="{DA5FAD4C-9232-4753-A1B0-651500040203}"/>
    <dgm:cxn modelId="{83953235-3C95-462D-BA4E-636C0C07C29C}" srcId="{0989693D-CB0C-4F9B-BD54-51D7E6C4FCE8}" destId="{309C5B3C-4FAF-4B90-B738-70954AEF0E1A}" srcOrd="4" destOrd="0" parTransId="{226A9AFC-D8A2-4A1E-A474-440019140561}" sibTransId="{F6ED9CCA-080F-4905-B03C-3DDF113C58DD}"/>
    <dgm:cxn modelId="{5B713337-32F2-4273-A26E-E87E668EA0D2}" type="presOf" srcId="{36BB36FC-BE64-4C47-AD46-6FAAFB48428C}" destId="{D80243E3-05B3-4AC7-93B4-2DFE8F8D09A7}" srcOrd="0" destOrd="0" presId="urn:microsoft.com/office/officeart/2005/8/layout/hierarchy3"/>
    <dgm:cxn modelId="{1A1E3437-E094-49DE-9311-BBD7249E0667}" type="presOf" srcId="{A1DF93A8-F6F7-49FF-B652-E801467B4359}" destId="{A8480688-175E-4FAA-BC82-78CF3D10395C}" srcOrd="0" destOrd="0" presId="urn:microsoft.com/office/officeart/2005/8/layout/hierarchy3"/>
    <dgm:cxn modelId="{F908B437-6A42-4749-AECA-00D72F018C66}" srcId="{A5768C11-AC2D-49BF-A71A-D6EDAC4E4A19}" destId="{0989693D-CB0C-4F9B-BD54-51D7E6C4FCE8}" srcOrd="0" destOrd="0" parTransId="{A3CC7DFF-DBC2-4022-A7DA-8D13AE8ED142}" sibTransId="{1959EFA3-1687-4ACA-9775-913CD608F41B}"/>
    <dgm:cxn modelId="{A84D285C-FF3A-4B36-A6AE-87B40B6B339B}" srcId="{14857AF0-CD17-434D-8409-4E70DF5BB1F1}" destId="{61D2CB31-E3CA-4132-ABF3-B2957FDB8189}" srcOrd="3" destOrd="0" parTransId="{36BB36FC-BE64-4C47-AD46-6FAAFB48428C}" sibTransId="{1694F956-5F6F-447F-BD48-1AF314112E6B}"/>
    <dgm:cxn modelId="{FFBE6E5E-1895-40FD-A537-8259F76172B8}" type="presOf" srcId="{09FAB467-E43F-4800-865B-ED08B4507C08}" destId="{6C64E6B3-339F-4851-AD52-AF726542236E}" srcOrd="0" destOrd="0" presId="urn:microsoft.com/office/officeart/2005/8/layout/hierarchy3"/>
    <dgm:cxn modelId="{A4BD2864-B90D-4C30-B264-91AE3C62EE54}" type="presOf" srcId="{20B997BB-8613-47F9-80FB-27C28F36DE9D}" destId="{094050AD-FE99-4D43-B14A-011E1846089C}" srcOrd="0" destOrd="0" presId="urn:microsoft.com/office/officeart/2005/8/layout/hierarchy3"/>
    <dgm:cxn modelId="{CB04E365-B004-403E-99C4-D678F806A7B8}" type="presOf" srcId="{50312315-45E3-403E-9D77-2A2AA697A669}" destId="{9C183AA0-56DD-46B2-A15C-AEF63E9DE87C}" srcOrd="0" destOrd="0" presId="urn:microsoft.com/office/officeart/2005/8/layout/hierarchy3"/>
    <dgm:cxn modelId="{E7A03471-783E-4EE2-9ACA-6C340BA15651}" type="presOf" srcId="{0989693D-CB0C-4F9B-BD54-51D7E6C4FCE8}" destId="{ACF8C30C-1EA4-4F09-A676-4597B6307CFB}" srcOrd="1" destOrd="0" presId="urn:microsoft.com/office/officeart/2005/8/layout/hierarchy3"/>
    <dgm:cxn modelId="{F4399153-791A-4D80-B387-398617795C8E}" type="presOf" srcId="{14857AF0-CD17-434D-8409-4E70DF5BB1F1}" destId="{3AE81C25-EA4A-4A4B-9FDB-35BF445638E5}" srcOrd="1" destOrd="0" presId="urn:microsoft.com/office/officeart/2005/8/layout/hierarchy3"/>
    <dgm:cxn modelId="{2B029956-3C4E-4504-B084-CC5E776612AA}" srcId="{14857AF0-CD17-434D-8409-4E70DF5BB1F1}" destId="{A6A665A3-F681-4903-9E6B-6C6CB8F8855B}" srcOrd="4" destOrd="0" parTransId="{09FAB467-E43F-4800-865B-ED08B4507C08}" sibTransId="{837249E3-65D1-4CD5-BAB5-99D5C38FEDEE}"/>
    <dgm:cxn modelId="{CF6B6957-0ECE-4CA9-B047-A98BFF2C65C2}" srcId="{14857AF0-CD17-434D-8409-4E70DF5BB1F1}" destId="{1C849A49-BFA3-42CB-BF88-31CD0D27F4D6}" srcOrd="0" destOrd="0" parTransId="{64508BB4-7CC8-4EB3-A044-8A333E9E544D}" sibTransId="{D68B2AB0-1BF8-4A99-A504-C19C08707D60}"/>
    <dgm:cxn modelId="{13C97A79-2DC8-430F-86D2-CA4CA70FD1EA}" srcId="{14857AF0-CD17-434D-8409-4E70DF5BB1F1}" destId="{48DEDE39-C3C4-4EC8-816F-2D7C8499A028}" srcOrd="1" destOrd="0" parTransId="{E25395A0-202E-4AB0-AF6A-768DBCF3602F}" sibTransId="{A61195C3-41F0-4576-A26A-20C4C76AAD5E}"/>
    <dgm:cxn modelId="{691FDA79-5CCB-4F46-83ED-C4BCBF8D0EC4}" type="presOf" srcId="{61D2CB31-E3CA-4132-ABF3-B2957FDB8189}" destId="{B2C770C3-85B3-4604-ABFD-6196C169FB6C}" srcOrd="0" destOrd="0" presId="urn:microsoft.com/office/officeart/2005/8/layout/hierarchy3"/>
    <dgm:cxn modelId="{4444AD81-C750-40E1-BB88-AF8A7818460E}" type="presOf" srcId="{D3C2416C-5A75-4AA0-8C86-834F1B10D18E}" destId="{0AAA182A-D556-4180-8CEA-5497022EEE7A}" srcOrd="0" destOrd="0" presId="urn:microsoft.com/office/officeart/2005/8/layout/hierarchy3"/>
    <dgm:cxn modelId="{1C570A8E-97DB-47A7-844D-18BEEEBA38C4}" srcId="{A5768C11-AC2D-49BF-A71A-D6EDAC4E4A19}" destId="{14857AF0-CD17-434D-8409-4E70DF5BB1F1}" srcOrd="1" destOrd="0" parTransId="{95FB1DAA-8372-438A-9FD4-14F05E1CC5C7}" sibTransId="{0BE03D22-DFAD-4592-A446-77AC071E3BDD}"/>
    <dgm:cxn modelId="{2AD22F95-154F-4B6D-ADE1-7C0B552397E4}" type="presOf" srcId="{226A9AFC-D8A2-4A1E-A474-440019140561}" destId="{D22D7BB4-A631-441C-9B20-E9741B2F1FD8}" srcOrd="0" destOrd="0" presId="urn:microsoft.com/office/officeart/2005/8/layout/hierarchy3"/>
    <dgm:cxn modelId="{24C11596-A200-4BBD-A1B6-77E2B6153E8F}" type="presOf" srcId="{E25395A0-202E-4AB0-AF6A-768DBCF3602F}" destId="{590BC89A-6CF3-4631-9C5B-857177320119}" srcOrd="0" destOrd="0" presId="urn:microsoft.com/office/officeart/2005/8/layout/hierarchy3"/>
    <dgm:cxn modelId="{896ADA9C-598B-4E2E-B65A-B1F270BEC902}" srcId="{0989693D-CB0C-4F9B-BD54-51D7E6C4FCE8}" destId="{D3C2416C-5A75-4AA0-8C86-834F1B10D18E}" srcOrd="0" destOrd="0" parTransId="{A1DF93A8-F6F7-49FF-B652-E801467B4359}" sibTransId="{A1C01A4A-2182-4863-A6A5-20EBB23DD347}"/>
    <dgm:cxn modelId="{5DB492A8-6183-4F4E-9900-C15793AA5B3D}" type="presOf" srcId="{309C5B3C-4FAF-4B90-B738-70954AEF0E1A}" destId="{232F7B38-354B-40D2-B0C1-98565A37DA3A}" srcOrd="0" destOrd="0" presId="urn:microsoft.com/office/officeart/2005/8/layout/hierarchy3"/>
    <dgm:cxn modelId="{B16B70B0-A247-4485-AB6F-E8D648C72EB8}" srcId="{0989693D-CB0C-4F9B-BD54-51D7E6C4FCE8}" destId="{50312315-45E3-403E-9D77-2A2AA697A669}" srcOrd="1" destOrd="0" parTransId="{28E7E680-61C6-418C-A657-1032B11E7A7D}" sibTransId="{7B93362A-CE59-48AF-9E5D-5B506E1C7DFC}"/>
    <dgm:cxn modelId="{47DFEEBF-1CF7-4B70-8294-38448CD4F302}" type="presOf" srcId="{A5768C11-AC2D-49BF-A71A-D6EDAC4E4A19}" destId="{369ED373-E8FA-4EC9-9648-07469727AC3B}" srcOrd="0" destOrd="0" presId="urn:microsoft.com/office/officeart/2005/8/layout/hierarchy3"/>
    <dgm:cxn modelId="{C50BDBC9-F5E3-4215-8D97-178E1DEC73A0}" type="presOf" srcId="{D84FC489-FAAE-47FE-AB6E-BF6ED724997F}" destId="{92199D01-057D-4EDF-B56F-68407185B608}" srcOrd="0" destOrd="0" presId="urn:microsoft.com/office/officeart/2005/8/layout/hierarchy3"/>
    <dgm:cxn modelId="{32C8C0CD-A7CA-49BB-9E70-E26A235F0EFE}" type="presOf" srcId="{64508BB4-7CC8-4EB3-A044-8A333E9E544D}" destId="{1A84D553-B06D-417F-924B-DEDB49D81ABE}" srcOrd="0" destOrd="0" presId="urn:microsoft.com/office/officeart/2005/8/layout/hierarchy3"/>
    <dgm:cxn modelId="{36EA54CF-8B25-43FB-A8C7-8A00D8D438C2}" type="presOf" srcId="{0989693D-CB0C-4F9B-BD54-51D7E6C4FCE8}" destId="{D782CF55-0C9F-41D0-BD44-4D887FCAEA46}" srcOrd="0" destOrd="0" presId="urn:microsoft.com/office/officeart/2005/8/layout/hierarchy3"/>
    <dgm:cxn modelId="{6016A8D4-0F67-40EB-9DC4-E06962217362}" srcId="{0989693D-CB0C-4F9B-BD54-51D7E6C4FCE8}" destId="{588506C3-15C7-47C1-B8C4-67462B233F49}" srcOrd="2" destOrd="0" parTransId="{506A7935-555B-4AC6-B091-CFF0BFE7815C}" sibTransId="{FC2EF348-609A-4C48-935A-456B6CDFF43C}"/>
    <dgm:cxn modelId="{8CC7E6E8-ECBE-4BFB-B644-0D58A067B279}" type="presOf" srcId="{506A7935-555B-4AC6-B091-CFF0BFE7815C}" destId="{B9A2375F-794D-4B4B-B9F1-BD0A4539935F}" srcOrd="0" destOrd="0" presId="urn:microsoft.com/office/officeart/2005/8/layout/hierarchy3"/>
    <dgm:cxn modelId="{A873A1B1-DE38-4AC0-A804-1EC4E9EC607F}" type="presParOf" srcId="{369ED373-E8FA-4EC9-9648-07469727AC3B}" destId="{FF096583-155C-4FC0-B5EA-BE909507BDEF}" srcOrd="0" destOrd="0" presId="urn:microsoft.com/office/officeart/2005/8/layout/hierarchy3"/>
    <dgm:cxn modelId="{1A3D573D-34FA-4716-90E8-76827B72948E}" type="presParOf" srcId="{FF096583-155C-4FC0-B5EA-BE909507BDEF}" destId="{52F1AFE7-F614-4B17-9234-22EC4145B4D2}" srcOrd="0" destOrd="0" presId="urn:microsoft.com/office/officeart/2005/8/layout/hierarchy3"/>
    <dgm:cxn modelId="{88203AF9-D86C-4409-BA0F-FC77E3B3EB79}" type="presParOf" srcId="{52F1AFE7-F614-4B17-9234-22EC4145B4D2}" destId="{D782CF55-0C9F-41D0-BD44-4D887FCAEA46}" srcOrd="0" destOrd="0" presId="urn:microsoft.com/office/officeart/2005/8/layout/hierarchy3"/>
    <dgm:cxn modelId="{F1A1B4D2-A5A2-407B-A0CF-978AFC00DE18}" type="presParOf" srcId="{52F1AFE7-F614-4B17-9234-22EC4145B4D2}" destId="{ACF8C30C-1EA4-4F09-A676-4597B6307CFB}" srcOrd="1" destOrd="0" presId="urn:microsoft.com/office/officeart/2005/8/layout/hierarchy3"/>
    <dgm:cxn modelId="{021C620E-C8F7-4E4D-8841-B5917960B375}" type="presParOf" srcId="{FF096583-155C-4FC0-B5EA-BE909507BDEF}" destId="{B9327558-78A9-4CAD-B6CE-A9D350C7342F}" srcOrd="1" destOrd="0" presId="urn:microsoft.com/office/officeart/2005/8/layout/hierarchy3"/>
    <dgm:cxn modelId="{0A5EAFE2-4D81-4B31-8454-A552EE689C64}" type="presParOf" srcId="{B9327558-78A9-4CAD-B6CE-A9D350C7342F}" destId="{A8480688-175E-4FAA-BC82-78CF3D10395C}" srcOrd="0" destOrd="0" presId="urn:microsoft.com/office/officeart/2005/8/layout/hierarchy3"/>
    <dgm:cxn modelId="{AD22560D-F742-400E-8ACF-06E227A3CCA6}" type="presParOf" srcId="{B9327558-78A9-4CAD-B6CE-A9D350C7342F}" destId="{0AAA182A-D556-4180-8CEA-5497022EEE7A}" srcOrd="1" destOrd="0" presId="urn:microsoft.com/office/officeart/2005/8/layout/hierarchy3"/>
    <dgm:cxn modelId="{E19FEAF6-C1AA-4ADB-BD40-4DA2B943788F}" type="presParOf" srcId="{B9327558-78A9-4CAD-B6CE-A9D350C7342F}" destId="{2AF0545D-C39F-4712-BC64-FAE715C2EB59}" srcOrd="2" destOrd="0" presId="urn:microsoft.com/office/officeart/2005/8/layout/hierarchy3"/>
    <dgm:cxn modelId="{9280538F-FF41-40C8-8241-88ED214E88B6}" type="presParOf" srcId="{B9327558-78A9-4CAD-B6CE-A9D350C7342F}" destId="{9C183AA0-56DD-46B2-A15C-AEF63E9DE87C}" srcOrd="3" destOrd="0" presId="urn:microsoft.com/office/officeart/2005/8/layout/hierarchy3"/>
    <dgm:cxn modelId="{79568F38-19EF-40B2-8B47-5E95E7504B8F}" type="presParOf" srcId="{B9327558-78A9-4CAD-B6CE-A9D350C7342F}" destId="{B9A2375F-794D-4B4B-B9F1-BD0A4539935F}" srcOrd="4" destOrd="0" presId="urn:microsoft.com/office/officeart/2005/8/layout/hierarchy3"/>
    <dgm:cxn modelId="{EB5CF391-EA48-4EAF-8282-EE778F85B0A4}" type="presParOf" srcId="{B9327558-78A9-4CAD-B6CE-A9D350C7342F}" destId="{01F7728E-9E73-4D34-9CCE-2A32289553F5}" srcOrd="5" destOrd="0" presId="urn:microsoft.com/office/officeart/2005/8/layout/hierarchy3"/>
    <dgm:cxn modelId="{2209829E-48EA-4152-8C2B-C81B24979417}" type="presParOf" srcId="{B9327558-78A9-4CAD-B6CE-A9D350C7342F}" destId="{094050AD-FE99-4D43-B14A-011E1846089C}" srcOrd="6" destOrd="0" presId="urn:microsoft.com/office/officeart/2005/8/layout/hierarchy3"/>
    <dgm:cxn modelId="{79AE1D3D-C46B-4B42-87E0-8BC7B6C8F51A}" type="presParOf" srcId="{B9327558-78A9-4CAD-B6CE-A9D350C7342F}" destId="{92199D01-057D-4EDF-B56F-68407185B608}" srcOrd="7" destOrd="0" presId="urn:microsoft.com/office/officeart/2005/8/layout/hierarchy3"/>
    <dgm:cxn modelId="{597E7679-616B-4147-BC29-192E78C42B61}" type="presParOf" srcId="{B9327558-78A9-4CAD-B6CE-A9D350C7342F}" destId="{D22D7BB4-A631-441C-9B20-E9741B2F1FD8}" srcOrd="8" destOrd="0" presId="urn:microsoft.com/office/officeart/2005/8/layout/hierarchy3"/>
    <dgm:cxn modelId="{815FD565-D4AA-40FB-B02C-70771734925D}" type="presParOf" srcId="{B9327558-78A9-4CAD-B6CE-A9D350C7342F}" destId="{232F7B38-354B-40D2-B0C1-98565A37DA3A}" srcOrd="9" destOrd="0" presId="urn:microsoft.com/office/officeart/2005/8/layout/hierarchy3"/>
    <dgm:cxn modelId="{E9B3B5D2-B766-4CB0-AA49-A4055B344D7E}" type="presParOf" srcId="{369ED373-E8FA-4EC9-9648-07469727AC3B}" destId="{FF214576-0AB9-4407-9B6F-A509F66FBDF9}" srcOrd="1" destOrd="0" presId="urn:microsoft.com/office/officeart/2005/8/layout/hierarchy3"/>
    <dgm:cxn modelId="{481E9C5A-AD6B-4180-8079-1DC246A78FB4}" type="presParOf" srcId="{FF214576-0AB9-4407-9B6F-A509F66FBDF9}" destId="{63BE86F7-23FD-4233-A415-0E401D25AE08}" srcOrd="0" destOrd="0" presId="urn:microsoft.com/office/officeart/2005/8/layout/hierarchy3"/>
    <dgm:cxn modelId="{1A094F21-43E1-44FD-8E9E-FB3B1D7ACC01}" type="presParOf" srcId="{63BE86F7-23FD-4233-A415-0E401D25AE08}" destId="{5282A470-85E3-4ED9-BF3A-C5E2763C8280}" srcOrd="0" destOrd="0" presId="urn:microsoft.com/office/officeart/2005/8/layout/hierarchy3"/>
    <dgm:cxn modelId="{EADD228F-74D0-499F-8BAA-D05CE8A5984D}" type="presParOf" srcId="{63BE86F7-23FD-4233-A415-0E401D25AE08}" destId="{3AE81C25-EA4A-4A4B-9FDB-35BF445638E5}" srcOrd="1" destOrd="0" presId="urn:microsoft.com/office/officeart/2005/8/layout/hierarchy3"/>
    <dgm:cxn modelId="{678E29BA-DF41-4CC7-A433-B589D3D3DB46}" type="presParOf" srcId="{FF214576-0AB9-4407-9B6F-A509F66FBDF9}" destId="{78FB35E4-3590-458F-B7F2-1227DAC95135}" srcOrd="1" destOrd="0" presId="urn:microsoft.com/office/officeart/2005/8/layout/hierarchy3"/>
    <dgm:cxn modelId="{795DC1FD-975F-4AD1-AF41-04936707CEAE}" type="presParOf" srcId="{78FB35E4-3590-458F-B7F2-1227DAC95135}" destId="{1A84D553-B06D-417F-924B-DEDB49D81ABE}" srcOrd="0" destOrd="0" presId="urn:microsoft.com/office/officeart/2005/8/layout/hierarchy3"/>
    <dgm:cxn modelId="{939C6DA6-6C94-4D42-9E7E-BFBA8D86900B}" type="presParOf" srcId="{78FB35E4-3590-458F-B7F2-1227DAC95135}" destId="{E0E7B904-4293-453B-B10B-1CC4EF635696}" srcOrd="1" destOrd="0" presId="urn:microsoft.com/office/officeart/2005/8/layout/hierarchy3"/>
    <dgm:cxn modelId="{284FD5AC-0C0F-42E0-961A-540BBF79091D}" type="presParOf" srcId="{78FB35E4-3590-458F-B7F2-1227DAC95135}" destId="{590BC89A-6CF3-4631-9C5B-857177320119}" srcOrd="2" destOrd="0" presId="urn:microsoft.com/office/officeart/2005/8/layout/hierarchy3"/>
    <dgm:cxn modelId="{579E1BD0-D641-4934-A8AE-25E221A299BE}" type="presParOf" srcId="{78FB35E4-3590-458F-B7F2-1227DAC95135}" destId="{186A47BC-98C1-44A1-9A21-FB8FDC22A5AD}" srcOrd="3" destOrd="0" presId="urn:microsoft.com/office/officeart/2005/8/layout/hierarchy3"/>
    <dgm:cxn modelId="{3741FBA5-04F3-4BA6-947D-5E8F65B38CAC}" type="presParOf" srcId="{78FB35E4-3590-458F-B7F2-1227DAC95135}" destId="{15E6EF22-7AD4-49E0-83AB-20652B7641ED}" srcOrd="4" destOrd="0" presId="urn:microsoft.com/office/officeart/2005/8/layout/hierarchy3"/>
    <dgm:cxn modelId="{AE93E099-F609-475D-8256-50B9F9BF29D6}" type="presParOf" srcId="{78FB35E4-3590-458F-B7F2-1227DAC95135}" destId="{9A571369-CB08-42A6-956D-EF758DBB8A0A}" srcOrd="5" destOrd="0" presId="urn:microsoft.com/office/officeart/2005/8/layout/hierarchy3"/>
    <dgm:cxn modelId="{CE5342F3-010E-4D22-A0CF-38C11C02B97F}" type="presParOf" srcId="{78FB35E4-3590-458F-B7F2-1227DAC95135}" destId="{D80243E3-05B3-4AC7-93B4-2DFE8F8D09A7}" srcOrd="6" destOrd="0" presId="urn:microsoft.com/office/officeart/2005/8/layout/hierarchy3"/>
    <dgm:cxn modelId="{9728A3FC-D14D-4407-BC75-D586A2CEE344}" type="presParOf" srcId="{78FB35E4-3590-458F-B7F2-1227DAC95135}" destId="{B2C770C3-85B3-4604-ABFD-6196C169FB6C}" srcOrd="7" destOrd="0" presId="urn:microsoft.com/office/officeart/2005/8/layout/hierarchy3"/>
    <dgm:cxn modelId="{064FD41E-C991-43C7-8C6B-D23930DF49C8}" type="presParOf" srcId="{78FB35E4-3590-458F-B7F2-1227DAC95135}" destId="{6C64E6B3-339F-4851-AD52-AF726542236E}" srcOrd="8" destOrd="0" presId="urn:microsoft.com/office/officeart/2005/8/layout/hierarchy3"/>
    <dgm:cxn modelId="{FDCCDBA3-A7BA-4DDD-AFD5-18A0793711DB}" type="presParOf" srcId="{78FB35E4-3590-458F-B7F2-1227DAC95135}" destId="{C37359CB-F6A4-462B-8454-DCC06F1DE060}" srcOrd="9" destOrd="0" presId="urn:microsoft.com/office/officeart/2005/8/layout/hierarchy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3F3E32C-7FA7-44E5-85A9-3764A1A3F65F}">
      <dsp:nvSpPr>
        <dsp:cNvPr id="0" name=""/>
        <dsp:cNvSpPr/>
      </dsp:nvSpPr>
      <dsp:spPr>
        <a:xfrm>
          <a:off x="1248627" y="3732"/>
          <a:ext cx="7132040" cy="364960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0" tIns="152400" rIns="152400" bIns="152400" numCol="1" spcCol="1270" anchor="ctr" anchorCtr="0">
          <a:noAutofit/>
        </a:bodyPr>
        <a:lstStyle/>
        <a:p>
          <a:pPr marL="0" lvl="0" indent="0" algn="ctr" defTabSz="1778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40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готовность успешно  взаимодействовать с изменяющимся окружающим миром, используя свои способности для совершенствования</a:t>
          </a:r>
          <a:endParaRPr lang="ru-RU" sz="4000" kern="1200" dirty="0"/>
        </a:p>
      </dsp:txBody>
      <dsp:txXfrm>
        <a:off x="1248627" y="3732"/>
        <a:ext cx="7132040" cy="3649600"/>
      </dsp:txXfrm>
    </dsp:sp>
    <dsp:sp modelId="{F46FFDB6-1014-4F8C-8500-D9F1BCA21D3A}">
      <dsp:nvSpPr>
        <dsp:cNvPr id="0" name=""/>
        <dsp:cNvSpPr/>
      </dsp:nvSpPr>
      <dsp:spPr>
        <a:xfrm>
          <a:off x="8541695" y="60533"/>
          <a:ext cx="7430876" cy="3535998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0" tIns="152400" rIns="152400" bIns="152400" numCol="1" spcCol="1270" anchor="ctr" anchorCtr="0">
          <a:noAutofit/>
        </a:bodyPr>
        <a:lstStyle/>
        <a:p>
          <a:pPr marL="0" lvl="0" indent="0" algn="ctr" defTabSz="1778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40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возможность решать различные учебные и жизненные задачи, обладать сформированными умениями строить алгоритмы основных видов деятельности</a:t>
          </a:r>
          <a:endParaRPr lang="ru-RU" sz="4000" kern="1200" dirty="0"/>
        </a:p>
      </dsp:txBody>
      <dsp:txXfrm>
        <a:off x="8541695" y="60533"/>
        <a:ext cx="7430876" cy="3535998"/>
      </dsp:txXfrm>
    </dsp:sp>
    <dsp:sp modelId="{A4DE9DD6-B553-4CED-9FB0-5A5E4735CDEE}">
      <dsp:nvSpPr>
        <dsp:cNvPr id="0" name=""/>
        <dsp:cNvSpPr/>
      </dsp:nvSpPr>
      <dsp:spPr>
        <a:xfrm>
          <a:off x="1324262" y="3818684"/>
          <a:ext cx="7214841" cy="3556567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0" tIns="152400" rIns="152400" bIns="152400" numCol="1" spcCol="1270" anchor="ctr" anchorCtr="0">
          <a:noAutofit/>
        </a:bodyPr>
        <a:lstStyle/>
        <a:p>
          <a:pPr marL="0" lvl="0" indent="0" algn="ctr" defTabSz="1778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40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способность строить социальные отношения в соответствии с нравственно-этическими ценностями социума, правилами партнерства</a:t>
          </a:r>
          <a:endParaRPr lang="ru-RU" sz="4000" kern="1200" dirty="0"/>
        </a:p>
      </dsp:txBody>
      <dsp:txXfrm>
        <a:off x="1324262" y="3818684"/>
        <a:ext cx="7214841" cy="3556567"/>
      </dsp:txXfrm>
    </dsp:sp>
    <dsp:sp modelId="{A966002D-BFDE-4243-B8AB-F5C3B3C450C1}">
      <dsp:nvSpPr>
        <dsp:cNvPr id="0" name=""/>
        <dsp:cNvSpPr/>
      </dsp:nvSpPr>
      <dsp:spPr>
        <a:xfrm>
          <a:off x="8700131" y="3814360"/>
          <a:ext cx="7196806" cy="3565215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0" tIns="152400" rIns="152400" bIns="152400" numCol="1" spcCol="1270" anchor="ctr" anchorCtr="0">
          <a:noAutofit/>
        </a:bodyPr>
        <a:lstStyle/>
        <a:p>
          <a:pPr marL="0" lvl="0" indent="0" algn="ctr" defTabSz="1778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40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способность строить социальные отношения в соответствии с нравственно-этическими ценностями социума, правилами партнерства</a:t>
          </a:r>
          <a:endParaRPr lang="ru-RU" sz="4000" kern="1200" dirty="0"/>
        </a:p>
      </dsp:txBody>
      <dsp:txXfrm>
        <a:off x="8700131" y="3814360"/>
        <a:ext cx="7196806" cy="3565215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B720B0C-558E-460F-B2DC-C6D31836C691}">
      <dsp:nvSpPr>
        <dsp:cNvPr id="0" name=""/>
        <dsp:cNvSpPr/>
      </dsp:nvSpPr>
      <dsp:spPr>
        <a:xfrm>
          <a:off x="6136885" y="3269551"/>
          <a:ext cx="2701418" cy="215885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50709" y="0"/>
              </a:lnTo>
              <a:lnTo>
                <a:pt x="1350709" y="2158850"/>
              </a:lnTo>
              <a:lnTo>
                <a:pt x="2701418" y="2158850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ru-RU" sz="1200" kern="1200"/>
        </a:p>
      </dsp:txBody>
      <dsp:txXfrm>
        <a:off x="7401142" y="4262524"/>
        <a:ext cx="172903" cy="172903"/>
      </dsp:txXfrm>
    </dsp:sp>
    <dsp:sp modelId="{6539F093-7E15-4D08-9D62-066DA961449D}">
      <dsp:nvSpPr>
        <dsp:cNvPr id="0" name=""/>
        <dsp:cNvSpPr/>
      </dsp:nvSpPr>
      <dsp:spPr>
        <a:xfrm>
          <a:off x="6136885" y="1742507"/>
          <a:ext cx="2728543" cy="1527043"/>
        </a:xfrm>
        <a:custGeom>
          <a:avLst/>
          <a:gdLst/>
          <a:ahLst/>
          <a:cxnLst/>
          <a:rect l="0" t="0" r="0" b="0"/>
          <a:pathLst>
            <a:path>
              <a:moveTo>
                <a:pt x="0" y="1527043"/>
              </a:moveTo>
              <a:lnTo>
                <a:pt x="1364271" y="1527043"/>
              </a:lnTo>
              <a:lnTo>
                <a:pt x="1364271" y="0"/>
              </a:lnTo>
              <a:lnTo>
                <a:pt x="2728543" y="0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ru-RU" sz="1100" kern="1200"/>
        </a:p>
      </dsp:txBody>
      <dsp:txXfrm>
        <a:off x="7422987" y="2427859"/>
        <a:ext cx="156339" cy="156339"/>
      </dsp:txXfrm>
    </dsp:sp>
    <dsp:sp modelId="{62CB5F4D-EC5B-43DD-A297-7A4C272B5179}">
      <dsp:nvSpPr>
        <dsp:cNvPr id="0" name=""/>
        <dsp:cNvSpPr/>
      </dsp:nvSpPr>
      <dsp:spPr>
        <a:xfrm>
          <a:off x="996345" y="1076979"/>
          <a:ext cx="5895936" cy="4385142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marL="0" lvl="0" indent="0" algn="ctr" defTabSz="1778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40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Изменение запроса на качество общего образования</a:t>
          </a:r>
        </a:p>
      </dsp:txBody>
      <dsp:txXfrm>
        <a:off x="996345" y="1076979"/>
        <a:ext cx="5895936" cy="4385142"/>
      </dsp:txXfrm>
    </dsp:sp>
    <dsp:sp modelId="{78B96A2A-9C10-4E93-A091-607A19C5D4E4}">
      <dsp:nvSpPr>
        <dsp:cNvPr id="0" name=""/>
        <dsp:cNvSpPr/>
      </dsp:nvSpPr>
      <dsp:spPr>
        <a:xfrm>
          <a:off x="8865429" y="0"/>
          <a:ext cx="8736770" cy="3485015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marL="0" lvl="0" indent="0" algn="ctr" defTabSz="1778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40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Приоритетной целью становится формирование функциональной грамотности в системе общего образования</a:t>
          </a:r>
        </a:p>
      </dsp:txBody>
      <dsp:txXfrm>
        <a:off x="8865429" y="0"/>
        <a:ext cx="8736770" cy="3485015"/>
      </dsp:txXfrm>
    </dsp:sp>
    <dsp:sp modelId="{676F50B6-BAF7-40F9-B1CA-C888530D5A3C}">
      <dsp:nvSpPr>
        <dsp:cNvPr id="0" name=""/>
        <dsp:cNvSpPr/>
      </dsp:nvSpPr>
      <dsp:spPr>
        <a:xfrm>
          <a:off x="8838303" y="3620648"/>
          <a:ext cx="8763896" cy="3615506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marL="0" lvl="0" indent="0" algn="ctr" defTabSz="1778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40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Создание поддерживающей позитивной образовательной среды за счет изменения содержания образовательных программ для более полного учета интересов учащихся и требований 21 века</a:t>
          </a:r>
        </a:p>
      </dsp:txBody>
      <dsp:txXfrm>
        <a:off x="8838303" y="3620648"/>
        <a:ext cx="8763896" cy="3615506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3BDCA75-F718-4FBC-AE79-B5809DDF5632}">
      <dsp:nvSpPr>
        <dsp:cNvPr id="0" name=""/>
        <dsp:cNvSpPr/>
      </dsp:nvSpPr>
      <dsp:spPr>
        <a:xfrm rot="5400000">
          <a:off x="1559418" y="2414912"/>
          <a:ext cx="2335131" cy="3885605"/>
        </a:xfrm>
        <a:prstGeom prst="corner">
          <a:avLst>
            <a:gd name="adj1" fmla="val 16120"/>
            <a:gd name="adj2" fmla="val 1611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753B844-AA94-48B8-8C72-1ECCA8D90486}">
      <dsp:nvSpPr>
        <dsp:cNvPr id="0" name=""/>
        <dsp:cNvSpPr/>
      </dsp:nvSpPr>
      <dsp:spPr>
        <a:xfrm>
          <a:off x="1169627" y="3575871"/>
          <a:ext cx="3507946" cy="307492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5260" tIns="175260" rIns="175260" bIns="175260" numCol="1" spcCol="1270" anchor="t" anchorCtr="0">
          <a:noAutofit/>
        </a:bodyPr>
        <a:lstStyle/>
        <a:p>
          <a:pPr marL="0" lvl="0" indent="0" algn="l" defTabSz="2044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46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Дошкольное образование</a:t>
          </a:r>
        </a:p>
      </dsp:txBody>
      <dsp:txXfrm>
        <a:off x="1169627" y="3575871"/>
        <a:ext cx="3507946" cy="3074920"/>
      </dsp:txXfrm>
    </dsp:sp>
    <dsp:sp modelId="{E514FF2F-730D-41EE-9E4E-956D18CDF170}">
      <dsp:nvSpPr>
        <dsp:cNvPr id="0" name=""/>
        <dsp:cNvSpPr/>
      </dsp:nvSpPr>
      <dsp:spPr>
        <a:xfrm>
          <a:off x="4051835" y="2384460"/>
          <a:ext cx="661876" cy="661876"/>
        </a:xfrm>
        <a:prstGeom prst="triangle">
          <a:avLst>
            <a:gd name="adj" fmla="val 10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59C1428-99DD-49A5-BCC1-86676F6621BC}">
      <dsp:nvSpPr>
        <dsp:cNvPr id="0" name=""/>
        <dsp:cNvSpPr/>
      </dsp:nvSpPr>
      <dsp:spPr>
        <a:xfrm rot="5400000">
          <a:off x="5853830" y="1352256"/>
          <a:ext cx="2335131" cy="3885605"/>
        </a:xfrm>
        <a:prstGeom prst="corner">
          <a:avLst>
            <a:gd name="adj1" fmla="val 16120"/>
            <a:gd name="adj2" fmla="val 1611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9C9F467-4F4D-4D84-AFF8-DF72E59907FF}">
      <dsp:nvSpPr>
        <dsp:cNvPr id="0" name=""/>
        <dsp:cNvSpPr/>
      </dsp:nvSpPr>
      <dsp:spPr>
        <a:xfrm>
          <a:off x="5464039" y="2513215"/>
          <a:ext cx="3507946" cy="307492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5260" tIns="175260" rIns="175260" bIns="175260" numCol="1" spcCol="1270" anchor="t" anchorCtr="0">
          <a:noAutofit/>
        </a:bodyPr>
        <a:lstStyle/>
        <a:p>
          <a:pPr marL="0" lvl="0" indent="0" algn="l" defTabSz="2044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46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Начальное общее образование</a:t>
          </a:r>
        </a:p>
      </dsp:txBody>
      <dsp:txXfrm>
        <a:off x="5464039" y="2513215"/>
        <a:ext cx="3507946" cy="3074920"/>
      </dsp:txXfrm>
    </dsp:sp>
    <dsp:sp modelId="{E418DA97-7F14-45C8-AB1D-AAD8BCCB69C5}">
      <dsp:nvSpPr>
        <dsp:cNvPr id="0" name=""/>
        <dsp:cNvSpPr/>
      </dsp:nvSpPr>
      <dsp:spPr>
        <a:xfrm>
          <a:off x="8310109" y="1066193"/>
          <a:ext cx="661876" cy="661876"/>
        </a:xfrm>
        <a:prstGeom prst="triangle">
          <a:avLst>
            <a:gd name="adj" fmla="val 10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24A91F0-4443-4DDB-B497-1FF953973828}">
      <dsp:nvSpPr>
        <dsp:cNvPr id="0" name=""/>
        <dsp:cNvSpPr/>
      </dsp:nvSpPr>
      <dsp:spPr>
        <a:xfrm rot="5400000">
          <a:off x="10148242" y="289599"/>
          <a:ext cx="2335131" cy="3885605"/>
        </a:xfrm>
        <a:prstGeom prst="corner">
          <a:avLst>
            <a:gd name="adj1" fmla="val 16120"/>
            <a:gd name="adj2" fmla="val 1611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B7274FD-CEA2-4454-AB09-A3133A81ACEA}">
      <dsp:nvSpPr>
        <dsp:cNvPr id="0" name=""/>
        <dsp:cNvSpPr/>
      </dsp:nvSpPr>
      <dsp:spPr>
        <a:xfrm>
          <a:off x="9758451" y="1450558"/>
          <a:ext cx="3507946" cy="307492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5260" tIns="175260" rIns="175260" bIns="175260" numCol="1" spcCol="1270" anchor="t" anchorCtr="0">
          <a:noAutofit/>
        </a:bodyPr>
        <a:lstStyle/>
        <a:p>
          <a:pPr marL="0" lvl="0" indent="0" algn="l" defTabSz="2044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46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Основное общее образование</a:t>
          </a:r>
        </a:p>
      </dsp:txBody>
      <dsp:txXfrm>
        <a:off x="9758451" y="1450558"/>
        <a:ext cx="3507946" cy="3074920"/>
      </dsp:txXfrm>
    </dsp:sp>
    <dsp:sp modelId="{18267FCE-F859-41DE-B997-37B7A4B9904F}">
      <dsp:nvSpPr>
        <dsp:cNvPr id="0" name=""/>
        <dsp:cNvSpPr/>
      </dsp:nvSpPr>
      <dsp:spPr>
        <a:xfrm>
          <a:off x="12604521" y="3536"/>
          <a:ext cx="661876" cy="661876"/>
        </a:xfrm>
        <a:prstGeom prst="triangle">
          <a:avLst>
            <a:gd name="adj" fmla="val 10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565799F-2463-48F6-AA4D-BE9695B3A290}">
      <dsp:nvSpPr>
        <dsp:cNvPr id="0" name=""/>
        <dsp:cNvSpPr/>
      </dsp:nvSpPr>
      <dsp:spPr>
        <a:xfrm rot="5400000">
          <a:off x="14442654" y="-773056"/>
          <a:ext cx="2335131" cy="3885605"/>
        </a:xfrm>
        <a:prstGeom prst="corner">
          <a:avLst>
            <a:gd name="adj1" fmla="val 16120"/>
            <a:gd name="adj2" fmla="val 16110"/>
          </a:avLst>
        </a:prstGeom>
        <a:blipFill rotWithShape="0">
          <a:blip xmlns:r="http://schemas.openxmlformats.org/officeDocument/2006/relationships" r:embed="rId1"/>
          <a:srcRect/>
          <a:stretch>
            <a:fillRect/>
          </a:stretch>
        </a:blip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AC2F55E-BDA5-4D95-852E-9EF0A6CE1754}">
      <dsp:nvSpPr>
        <dsp:cNvPr id="0" name=""/>
        <dsp:cNvSpPr/>
      </dsp:nvSpPr>
      <dsp:spPr>
        <a:xfrm>
          <a:off x="14052863" y="387902"/>
          <a:ext cx="3507946" cy="307492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5260" tIns="175260" rIns="175260" bIns="175260" numCol="1" spcCol="1270" anchor="t" anchorCtr="0">
          <a:noAutofit/>
        </a:bodyPr>
        <a:lstStyle/>
        <a:p>
          <a:pPr marL="0" lvl="0" indent="0" algn="l" defTabSz="2044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46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Среднее общее образование</a:t>
          </a:r>
        </a:p>
      </dsp:txBody>
      <dsp:txXfrm>
        <a:off x="14052863" y="387902"/>
        <a:ext cx="3507946" cy="3074920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782CF55-0C9F-41D0-BD44-4D887FCAEA46}">
      <dsp:nvSpPr>
        <dsp:cNvPr id="0" name=""/>
        <dsp:cNvSpPr/>
      </dsp:nvSpPr>
      <dsp:spPr>
        <a:xfrm>
          <a:off x="1160248" y="1880"/>
          <a:ext cx="6881980" cy="1274866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50800" rIns="76200" bIns="50800" numCol="1" spcCol="1270" anchor="ctr" anchorCtr="0">
          <a:noAutofit/>
        </a:bodyPr>
        <a:lstStyle/>
        <a:p>
          <a:pPr marL="0" lvl="0" indent="0" algn="ctr" defTabSz="1778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40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Международные  образовательные стандарты</a:t>
          </a:r>
        </a:p>
      </dsp:txBody>
      <dsp:txXfrm>
        <a:off x="1197588" y="39220"/>
        <a:ext cx="6807300" cy="1200186"/>
      </dsp:txXfrm>
    </dsp:sp>
    <dsp:sp modelId="{A8480688-175E-4FAA-BC82-78CF3D10395C}">
      <dsp:nvSpPr>
        <dsp:cNvPr id="0" name=""/>
        <dsp:cNvSpPr/>
      </dsp:nvSpPr>
      <dsp:spPr>
        <a:xfrm>
          <a:off x="1848446" y="1276747"/>
          <a:ext cx="437556" cy="66344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663446"/>
              </a:lnTo>
              <a:lnTo>
                <a:pt x="437556" y="663446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AAA182A-D556-4180-8CEA-5497022EEE7A}">
      <dsp:nvSpPr>
        <dsp:cNvPr id="0" name=""/>
        <dsp:cNvSpPr/>
      </dsp:nvSpPr>
      <dsp:spPr>
        <a:xfrm>
          <a:off x="2286002" y="1447797"/>
          <a:ext cx="6883614" cy="984791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40640" rIns="60960" bIns="40640" numCol="1" spcCol="1270" anchor="ctr" anchorCtr="0">
          <a:noAutofit/>
        </a:bodyPr>
        <a:lstStyle/>
        <a:p>
          <a:pPr marL="0" lvl="0" indent="0" algn="l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3200" b="1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Читательская грамотность</a:t>
          </a:r>
        </a:p>
      </dsp:txBody>
      <dsp:txXfrm>
        <a:off x="2314846" y="1476641"/>
        <a:ext cx="6825926" cy="927103"/>
      </dsp:txXfrm>
    </dsp:sp>
    <dsp:sp modelId="{2AF0545D-C39F-4712-BC64-FAE715C2EB59}">
      <dsp:nvSpPr>
        <dsp:cNvPr id="0" name=""/>
        <dsp:cNvSpPr/>
      </dsp:nvSpPr>
      <dsp:spPr>
        <a:xfrm>
          <a:off x="1848446" y="1276747"/>
          <a:ext cx="437556" cy="184950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849504"/>
              </a:lnTo>
              <a:lnTo>
                <a:pt x="437556" y="1849504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C183AA0-56DD-46B2-A15C-AEF63E9DE87C}">
      <dsp:nvSpPr>
        <dsp:cNvPr id="0" name=""/>
        <dsp:cNvSpPr/>
      </dsp:nvSpPr>
      <dsp:spPr>
        <a:xfrm>
          <a:off x="2286002" y="2655369"/>
          <a:ext cx="6943681" cy="941763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40640" rIns="60960" bIns="40640" numCol="1" spcCol="1270" anchor="ctr" anchorCtr="0">
          <a:noAutofit/>
        </a:bodyPr>
        <a:lstStyle/>
        <a:p>
          <a:pPr marL="0" lvl="0" indent="0" algn="l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3200" b="1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Естественно-научная грамотность</a:t>
          </a:r>
        </a:p>
      </dsp:txBody>
      <dsp:txXfrm>
        <a:off x="2313585" y="2682952"/>
        <a:ext cx="6888515" cy="886597"/>
      </dsp:txXfrm>
    </dsp:sp>
    <dsp:sp modelId="{B9A2375F-794D-4B4B-B9F1-BD0A4539935F}">
      <dsp:nvSpPr>
        <dsp:cNvPr id="0" name=""/>
        <dsp:cNvSpPr/>
      </dsp:nvSpPr>
      <dsp:spPr>
        <a:xfrm>
          <a:off x="1848446" y="1276747"/>
          <a:ext cx="437556" cy="306812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068120"/>
              </a:lnTo>
              <a:lnTo>
                <a:pt x="437556" y="3068120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1F7728E-9E73-4D34-9CCE-2A32289553F5}">
      <dsp:nvSpPr>
        <dsp:cNvPr id="0" name=""/>
        <dsp:cNvSpPr/>
      </dsp:nvSpPr>
      <dsp:spPr>
        <a:xfrm>
          <a:off x="2286002" y="3874573"/>
          <a:ext cx="6980319" cy="940590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40640" rIns="60960" bIns="40640" numCol="1" spcCol="1270" anchor="ctr" anchorCtr="0">
          <a:noAutofit/>
        </a:bodyPr>
        <a:lstStyle/>
        <a:p>
          <a:pPr marL="0" lvl="0" indent="0" algn="l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3200" b="1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Математическая грамотность</a:t>
          </a:r>
        </a:p>
      </dsp:txBody>
      <dsp:txXfrm>
        <a:off x="2313551" y="3902122"/>
        <a:ext cx="6925221" cy="885492"/>
      </dsp:txXfrm>
    </dsp:sp>
    <dsp:sp modelId="{094050AD-FE99-4D43-B14A-011E1846089C}">
      <dsp:nvSpPr>
        <dsp:cNvPr id="0" name=""/>
        <dsp:cNvSpPr/>
      </dsp:nvSpPr>
      <dsp:spPr>
        <a:xfrm>
          <a:off x="1848446" y="1276747"/>
          <a:ext cx="361350" cy="411110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4111104"/>
              </a:lnTo>
              <a:lnTo>
                <a:pt x="361350" y="4111104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2199D01-057D-4EDF-B56F-68407185B608}">
      <dsp:nvSpPr>
        <dsp:cNvPr id="0" name=""/>
        <dsp:cNvSpPr/>
      </dsp:nvSpPr>
      <dsp:spPr>
        <a:xfrm>
          <a:off x="2209797" y="4917560"/>
          <a:ext cx="6924721" cy="940581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40640" rIns="60960" bIns="40640" numCol="1" spcCol="1270" anchor="ctr" anchorCtr="0">
          <a:noAutofit/>
        </a:bodyPr>
        <a:lstStyle/>
        <a:p>
          <a:pPr marL="0" lvl="0" indent="0" algn="l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3200" b="1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Финансовая грамотность</a:t>
          </a:r>
        </a:p>
      </dsp:txBody>
      <dsp:txXfrm>
        <a:off x="2237346" y="4945109"/>
        <a:ext cx="6869623" cy="885483"/>
      </dsp:txXfrm>
    </dsp:sp>
    <dsp:sp modelId="{D22D7BB4-A631-441C-9B20-E9741B2F1FD8}">
      <dsp:nvSpPr>
        <dsp:cNvPr id="0" name=""/>
        <dsp:cNvSpPr/>
      </dsp:nvSpPr>
      <dsp:spPr>
        <a:xfrm>
          <a:off x="1848446" y="1276747"/>
          <a:ext cx="361350" cy="528028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5280281"/>
              </a:lnTo>
              <a:lnTo>
                <a:pt x="361350" y="5280281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32F7B38-354B-40D2-B0C1-98565A37DA3A}">
      <dsp:nvSpPr>
        <dsp:cNvPr id="0" name=""/>
        <dsp:cNvSpPr/>
      </dsp:nvSpPr>
      <dsp:spPr>
        <a:xfrm>
          <a:off x="2209797" y="6112928"/>
          <a:ext cx="6827922" cy="888201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40640" rIns="60960" bIns="40640" numCol="1" spcCol="1270" anchor="ctr" anchorCtr="0">
          <a:noAutofit/>
        </a:bodyPr>
        <a:lstStyle/>
        <a:p>
          <a:pPr marL="0" lvl="0" indent="0" algn="l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3200" b="1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Глобальные компетенции</a:t>
          </a:r>
        </a:p>
      </dsp:txBody>
      <dsp:txXfrm>
        <a:off x="2235812" y="6138943"/>
        <a:ext cx="6775892" cy="836171"/>
      </dsp:txXfrm>
    </dsp:sp>
    <dsp:sp modelId="{5282A470-85E3-4ED9-BF3A-C5E2763C8280}">
      <dsp:nvSpPr>
        <dsp:cNvPr id="0" name=""/>
        <dsp:cNvSpPr/>
      </dsp:nvSpPr>
      <dsp:spPr>
        <a:xfrm>
          <a:off x="8916520" y="0"/>
          <a:ext cx="8619659" cy="1258720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50800" rIns="76200" bIns="50800" numCol="1" spcCol="1270" anchor="ctr" anchorCtr="0">
          <a:noAutofit/>
        </a:bodyPr>
        <a:lstStyle/>
        <a:p>
          <a:pPr marL="0" lvl="0" indent="0" algn="ctr" defTabSz="1778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40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Формирование предпосылок функциональной грамотности</a:t>
          </a:r>
        </a:p>
      </dsp:txBody>
      <dsp:txXfrm>
        <a:off x="8953387" y="36867"/>
        <a:ext cx="8545925" cy="1184986"/>
      </dsp:txXfrm>
    </dsp:sp>
    <dsp:sp modelId="{1A84D553-B06D-417F-924B-DEDB49D81ABE}">
      <dsp:nvSpPr>
        <dsp:cNvPr id="0" name=""/>
        <dsp:cNvSpPr/>
      </dsp:nvSpPr>
      <dsp:spPr>
        <a:xfrm>
          <a:off x="9778486" y="1258720"/>
          <a:ext cx="409686" cy="70700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707000"/>
              </a:lnTo>
              <a:lnTo>
                <a:pt x="409686" y="707000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0E7B904-4293-453B-B10B-1CC4EF635696}">
      <dsp:nvSpPr>
        <dsp:cNvPr id="0" name=""/>
        <dsp:cNvSpPr/>
      </dsp:nvSpPr>
      <dsp:spPr>
        <a:xfrm>
          <a:off x="10188173" y="1471607"/>
          <a:ext cx="7343601" cy="988227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40640" rIns="60960" bIns="40640" numCol="1" spcCol="1270" anchor="ctr" anchorCtr="0">
          <a:noAutofit/>
        </a:bodyPr>
        <a:lstStyle/>
        <a:p>
          <a:pPr marL="0" lvl="0" indent="0" algn="ctr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3200" b="1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Формирование речевой активности дошкольников</a:t>
          </a:r>
        </a:p>
      </dsp:txBody>
      <dsp:txXfrm>
        <a:off x="10217117" y="1500551"/>
        <a:ext cx="7285713" cy="930339"/>
      </dsp:txXfrm>
    </dsp:sp>
    <dsp:sp modelId="{590BC89A-6CF3-4631-9C5B-857177320119}">
      <dsp:nvSpPr>
        <dsp:cNvPr id="0" name=""/>
        <dsp:cNvSpPr/>
      </dsp:nvSpPr>
      <dsp:spPr>
        <a:xfrm>
          <a:off x="9778486" y="1258720"/>
          <a:ext cx="409686" cy="208780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087805"/>
              </a:lnTo>
              <a:lnTo>
                <a:pt x="409686" y="2087805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86A47BC-98C1-44A1-9A21-FB8FDC22A5AD}">
      <dsp:nvSpPr>
        <dsp:cNvPr id="0" name=""/>
        <dsp:cNvSpPr/>
      </dsp:nvSpPr>
      <dsp:spPr>
        <a:xfrm>
          <a:off x="10188173" y="2670840"/>
          <a:ext cx="7314418" cy="1351369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40640" rIns="60960" bIns="40640" numCol="1" spcCol="1270" anchor="ctr" anchorCtr="0">
          <a:noAutofit/>
        </a:bodyPr>
        <a:lstStyle/>
        <a:p>
          <a:pPr marL="0" lvl="0" indent="0" algn="ctr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3200" b="1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Формирование естественнонаучных представлений и основ экологической грамотности у дошкольников</a:t>
          </a:r>
        </a:p>
      </dsp:txBody>
      <dsp:txXfrm>
        <a:off x="10227753" y="2710420"/>
        <a:ext cx="7235258" cy="1272209"/>
      </dsp:txXfrm>
    </dsp:sp>
    <dsp:sp modelId="{15E6EF22-7AD4-49E0-83AB-20652B7641ED}">
      <dsp:nvSpPr>
        <dsp:cNvPr id="0" name=""/>
        <dsp:cNvSpPr/>
      </dsp:nvSpPr>
      <dsp:spPr>
        <a:xfrm>
          <a:off x="9778486" y="1258720"/>
          <a:ext cx="409686" cy="358423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584236"/>
              </a:lnTo>
              <a:lnTo>
                <a:pt x="409686" y="3584236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A571369-CB08-42A6-956D-EF758DBB8A0A}">
      <dsp:nvSpPr>
        <dsp:cNvPr id="0" name=""/>
        <dsp:cNvSpPr/>
      </dsp:nvSpPr>
      <dsp:spPr>
        <a:xfrm>
          <a:off x="10188173" y="4233216"/>
          <a:ext cx="7414823" cy="1219481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40640" rIns="60960" bIns="40640" numCol="1" spcCol="1270" anchor="ctr" anchorCtr="0">
          <a:noAutofit/>
        </a:bodyPr>
        <a:lstStyle/>
        <a:p>
          <a:pPr marL="0" lvl="0" indent="0" algn="ctr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3200" b="1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Формирование математической грамотности детей дошкольного возраста</a:t>
          </a:r>
        </a:p>
      </dsp:txBody>
      <dsp:txXfrm>
        <a:off x="10223890" y="4268933"/>
        <a:ext cx="7343389" cy="1148047"/>
      </dsp:txXfrm>
    </dsp:sp>
    <dsp:sp modelId="{D80243E3-05B3-4AC7-93B4-2DFE8F8D09A7}">
      <dsp:nvSpPr>
        <dsp:cNvPr id="0" name=""/>
        <dsp:cNvSpPr/>
      </dsp:nvSpPr>
      <dsp:spPr>
        <a:xfrm>
          <a:off x="9778486" y="1258720"/>
          <a:ext cx="409686" cy="485788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4857887"/>
              </a:lnTo>
              <a:lnTo>
                <a:pt x="409686" y="4857887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2C770C3-85B3-4604-ABFD-6196C169FB6C}">
      <dsp:nvSpPr>
        <dsp:cNvPr id="0" name=""/>
        <dsp:cNvSpPr/>
      </dsp:nvSpPr>
      <dsp:spPr>
        <a:xfrm>
          <a:off x="10188173" y="5663704"/>
          <a:ext cx="7296295" cy="905808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40640" rIns="60960" bIns="40640" numCol="1" spcCol="1270" anchor="ctr" anchorCtr="0">
          <a:noAutofit/>
        </a:bodyPr>
        <a:lstStyle/>
        <a:p>
          <a:pPr marL="0" lvl="0" indent="0" algn="ctr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3200" b="1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Формирование финансовой грамотности  дошкольников</a:t>
          </a:r>
        </a:p>
      </dsp:txBody>
      <dsp:txXfrm>
        <a:off x="10214703" y="5690234"/>
        <a:ext cx="7243235" cy="852748"/>
      </dsp:txXfrm>
    </dsp:sp>
    <dsp:sp modelId="{6C64E6B3-339F-4851-AD52-AF726542236E}">
      <dsp:nvSpPr>
        <dsp:cNvPr id="0" name=""/>
        <dsp:cNvSpPr/>
      </dsp:nvSpPr>
      <dsp:spPr>
        <a:xfrm>
          <a:off x="9778486" y="1258720"/>
          <a:ext cx="409686" cy="614199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6141996"/>
              </a:lnTo>
              <a:lnTo>
                <a:pt x="409686" y="6141996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37359CB-F6A4-462B-8454-DCC06F1DE060}">
      <dsp:nvSpPr>
        <dsp:cNvPr id="0" name=""/>
        <dsp:cNvSpPr/>
      </dsp:nvSpPr>
      <dsp:spPr>
        <a:xfrm>
          <a:off x="10188173" y="6780518"/>
          <a:ext cx="7286329" cy="1240396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40640" rIns="60960" bIns="40640" numCol="1" spcCol="1270" anchor="ctr" anchorCtr="0">
          <a:noAutofit/>
        </a:bodyPr>
        <a:lstStyle/>
        <a:p>
          <a:pPr marL="0" lvl="0" indent="0" algn="ctr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3200" b="1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Формирование социально-коммуникативной грамотности на уровне дошкольного образования</a:t>
          </a:r>
        </a:p>
      </dsp:txBody>
      <dsp:txXfrm>
        <a:off x="10224503" y="6816848"/>
        <a:ext cx="7213669" cy="1167736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9/3/layout/StepUpProcess">
  <dgm:title val=""/>
  <dgm:desc val=""/>
  <dgm:catLst>
    <dgm:cat type="process" pri="1300"/>
  </dgm:catLst>
  <dgm:samp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60" srcId="0" destId="10" srcOrd="0" destOrd="0"/>
        <dgm:cxn modelId="7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  <dgm:cxn modelId="90" srcId="0" destId="40" srcOrd="3" destOrd="0"/>
      </dgm:cxnLst>
      <dgm:bg/>
      <dgm:whole/>
    </dgm:dataModel>
  </dgm:clrData>
  <dgm:layoutNode name="rootnode">
    <dgm:varLst>
      <dgm:chMax/>
      <dgm:chPref/>
      <dgm:dir/>
      <dgm:animLvl val="lvl"/>
    </dgm:varLst>
    <dgm:choose name="Name0">
      <dgm:if name="Name1" func="var" arg="dir" op="equ" val="norm">
        <dgm:alg type="snake">
          <dgm:param type="grDir" val="bL"/>
          <dgm:param type="flowDir" val="row"/>
          <dgm:param type="off" val="off"/>
          <dgm:param type="bkpt" val="fixed"/>
          <dgm:param type="bkPtFixedVal" val="1"/>
        </dgm:alg>
      </dgm:if>
      <dgm:else name="Name2">
        <dgm:alg type="snake">
          <dgm:param type="grDir" val="bR"/>
          <dgm:param type="flowDir" val="row"/>
          <dgm:param type="off" val="off"/>
          <dgm:param type="bkpt" val="fixed"/>
          <dgm:param type="bkPtFixedVal" val="1"/>
        </dgm:alg>
      </dgm:else>
    </dgm:choose>
    <dgm:shape xmlns:r="http://schemas.openxmlformats.org/officeDocument/2006/relationships" r:blip="">
      <dgm:adjLst/>
    </dgm:shape>
    <dgm:constrLst>
      <dgm:constr type="alignOff" forName="rootnode" val="1"/>
      <dgm:constr type="primFontSz" for="des" ptType="node" op="equ" val="65"/>
      <dgm:constr type="w" for="ch" forName="composite" refType="w"/>
      <dgm:constr type="h" for="ch" forName="composite" refType="h"/>
      <dgm:constr type="sp" refType="h" refFor="ch" refForName="composite" op="equ" fact="-0.765"/>
      <dgm:constr type="w" for="ch" forName="sibTrans" refType="w" fact="0.103"/>
      <dgm:constr type="h" for="ch" forName="sibTrans" refType="h" fact="0.103"/>
    </dgm:constrLst>
    <dgm:forEach name="nodesForEach" axis="ch" ptType="node">
      <dgm:layoutNode name="composite">
        <dgm:alg type="composite">
          <dgm:param type="ar" val="0.861"/>
        </dgm:alg>
        <dgm:shape xmlns:r="http://schemas.openxmlformats.org/officeDocument/2006/relationships" r:blip="">
          <dgm:adjLst/>
        </dgm:shape>
        <dgm:choose name="Name3">
          <dgm:if name="Name4" func="var" arg="dir" op="equ" val="norm">
            <dgm:constrLst>
              <dgm:constr type="l" for="ch" forName="LShape" refType="w" fact="0"/>
              <dgm:constr type="t" for="ch" forName="LShape" refType="h" fact="0.2347"/>
              <dgm:constr type="w" for="ch" forName="LShape" refType="w" fact="0.998"/>
              <dgm:constr type="h" for="ch" forName="LShape" refType="h" fact="0.5164"/>
              <dgm:constr type="r" for="ch" forName="ParentText" refType="w"/>
              <dgm:constr type="t" for="ch" forName="ParentText" refType="h" fact="0.32"/>
              <dgm:constr type="w" for="ch" forName="ParentText" refType="w" fact="0.901"/>
              <dgm:constr type="h" for="ch" forName="ParentText" refType="h" fact="0.68"/>
              <dgm:constr type="l" for="ch" forName="Triangle" refType="w" fact="0.83"/>
              <dgm:constr type="t" for="ch" forName="Triangle" refType="h" fact="0"/>
              <dgm:constr type="w" for="ch" forName="Triangle" refType="w" fact="0.17"/>
              <dgm:constr type="h" for="ch" forName="Triangle" refType="w" refFor="ch" refForName="Triangle"/>
            </dgm:constrLst>
          </dgm:if>
          <dgm:else name="Name5">
            <dgm:constrLst>
              <dgm:constr type="l" for="ch" forName="LShape" refType="w" fact="0.002"/>
              <dgm:constr type="t" for="ch" forName="LShape" refType="h" fact="0.2347"/>
              <dgm:constr type="w" for="ch" forName="LShape" refType="w"/>
              <dgm:constr type="h" for="ch" forName="LShape" refType="h" fact="0.5164"/>
              <dgm:constr type="l" for="ch" forName="ParentText" refType="w" fact="0"/>
              <dgm:constr type="t" for="ch" forName="ParentText" refType="h" fact="0.32"/>
              <dgm:constr type="w" for="ch" forName="ParentText" refType="w" fact="0.902"/>
              <dgm:constr type="h" for="ch" forName="ParentText" refType="h" fact="0.68"/>
              <dgm:constr type="l" for="ch" forName="Triangle" refType="w" fact="0"/>
              <dgm:constr type="t" for="ch" forName="Triangle" refType="h" fact="0"/>
              <dgm:constr type="w" for="ch" forName="Triangle" refType="w" fact="0.17"/>
              <dgm:constr type="h" for="ch" forName="Triangle" refType="w" refFor="ch" refForName="Triangle"/>
            </dgm:constrLst>
          </dgm:else>
        </dgm:choose>
        <dgm:layoutNode name="LShape" styleLbl="alignNode1">
          <dgm:alg type="sp"/>
          <dgm:choose name="Name6">
            <dgm:if name="Name7" func="var" arg="dir" op="equ" val="norm">
              <dgm:shape xmlns:r="http://schemas.openxmlformats.org/officeDocument/2006/relationships" rot="90" type="corner" r:blip="">
                <dgm:adjLst>
                  <dgm:adj idx="1" val="0.1612"/>
                  <dgm:adj idx="2" val="0.1611"/>
                </dgm:adjLst>
              </dgm:shape>
            </dgm:if>
            <dgm:else name="Name8">
              <dgm:shape xmlns:r="http://schemas.openxmlformats.org/officeDocument/2006/relationships" rot="180" type="corner" r:blip="">
                <dgm:adjLst>
                  <dgm:adj idx="1" val="0.1612"/>
                  <dgm:adj idx="2" val="0.1611"/>
                </dgm:adjLst>
              </dgm:shape>
            </dgm:else>
          </dgm:choose>
          <dgm:presOf/>
        </dgm:layoutNode>
        <dgm:layoutNode name="ParentText" styleLbl="revTx">
          <dgm:varLst>
            <dgm:chMax val="0"/>
            <dgm:chPref val="0"/>
            <dgm:bulletEnabled val="1"/>
          </dgm:varLst>
          <dgm:alg type="tx">
            <dgm:param type="parTxLTRAlign" val="l"/>
            <dgm:param type="txAnchorVert" val="t"/>
          </dgm:alg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choose name="Name9">
          <dgm:if name="Name10" axis="followSib" ptType="node" func="cnt" op="gte" val="1">
            <dgm:layoutNode name="Triangle" styleLbl="alignNode1">
              <dgm:alg type="sp"/>
              <dgm:choose name="Name11">
                <dgm:if name="Name12" func="var" arg="dir" op="equ" val="norm">
                  <dgm:shape xmlns:r="http://schemas.openxmlformats.org/officeDocument/2006/relationships" type="triangle" r:blip="">
                    <dgm:adjLst>
                      <dgm:adj idx="1" val="1"/>
                    </dgm:adjLst>
                  </dgm:shape>
                </dgm:if>
                <dgm:else name="Name13">
                  <dgm:shape xmlns:r="http://schemas.openxmlformats.org/officeDocument/2006/relationships" rot="90" type="triangle" r:blip="">
                    <dgm:adjLst>
                      <dgm:adj idx="1" val="1"/>
                    </dgm:adjLst>
                  </dgm:shape>
                </dgm:else>
              </dgm:choose>
              <dgm:presOf/>
            </dgm:layoutNode>
          </dgm:if>
          <dgm:else name="Name14"/>
        </dgm:choose>
      </dgm:layoutNode>
      <dgm:forEach name="sibTransForEach" axis="followSib" ptType="sibTrans" cnt="1">
        <dgm:layoutNode name="sibTrans">
          <dgm:alg type="composite">
            <dgm:param type="ar" val="0.861"/>
          </dgm:alg>
          <dgm:constrLst>
            <dgm:constr type="w" for="ch" forName="space" refType="w"/>
            <dgm:constr type="h" for="ch" forName="space" refType="w"/>
          </dgm:constrLst>
          <dgm:layoutNode name="space" styleLbl="alignNode1">
            <dgm:alg type="sp"/>
            <dgm:shape xmlns:r="http://schemas.openxmlformats.org/officeDocument/2006/relationships" r:blip="">
              <dgm:adjLst/>
            </dgm:shape>
            <dgm:presOf/>
          </dgm:layoutNode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hierarchy3">
  <dgm:title val=""/>
  <dgm:desc val=""/>
  <dgm:catLst>
    <dgm:cat type="hierarchy" pri="7000"/>
    <dgm:cat type="list" pri="23000"/>
    <dgm:cat type="relationship" pri="15000"/>
    <dgm:cat type="convert" pri="7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5" srcId="1" destId="11" srcOrd="0" destOrd="0"/>
        <dgm:cxn modelId="6" srcId="1" destId="12" srcOrd="1" destOrd="0"/>
        <dgm:cxn modelId="7" srcId="0" destId="2" srcOrd="1" destOrd="0"/>
        <dgm:cxn modelId="8" srcId="2" destId="21" srcOrd="0" destOrd="0"/>
        <dgm:cxn modelId="9" srcId="2" destId="2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diagram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forName="rootText" op="equ" val="65"/>
      <dgm:constr type="primFontSz" for="des" forName="childText" op="equ" val="65"/>
      <dgm:constr type="w" for="des" forName="rootComposite" refType="w"/>
      <dgm:constr type="h" for="des" forName="rootComposite" refType="w" fact="0.5"/>
      <dgm:constr type="w" for="des" forName="childText" refType="w" refFor="des" refForName="rootComposite" fact="0.8"/>
      <dgm:constr type="h" for="des" forName="childText" refType="h" refFor="des" refForName="rootComposite"/>
      <dgm:constr type="sibSp" refType="w" refFor="des" refForName="rootComposite" fact="0.25"/>
      <dgm:constr type="sibSp" for="des" forName="childShape" refType="h" refFor="des" refForName="childText" fact="0.25"/>
      <dgm:constr type="sp" for="des" forName="root" refType="h" refFor="des" refForName="childText" fact="0.25"/>
    </dgm:constrLst>
    <dgm:ruleLst/>
    <dgm:forEach name="Name3" axis="ch">
      <dgm:forEach name="Name4" axis="self" ptType="node" cnt="1">
        <dgm:layoutNode name="root">
          <dgm:choose name="Name5">
            <dgm:if name="Name6" func="var" arg="dir" op="equ" val="norm">
              <dgm:alg type="hierRoot">
                <dgm:param type="hierAlign" val="tL"/>
              </dgm:alg>
            </dgm:if>
            <dgm:else name="Name7">
              <dgm:alg type="hierRoot">
                <dgm:param type="hierAlign" val="tR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>
            <dgm:constr type="alignOff" val="0.2"/>
          </dgm:constrLst>
          <dgm:ruleLst/>
          <dgm:layoutNode name="rootComposite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8">
              <dgm:if name="Name9" func="var" arg="dir" op="equ" val="norm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l" for="ch" forName="rootConnector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if>
              <dgm:else name="Name10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r" for="ch" forName="rootConnector" refType="w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else>
            </dgm:choose>
            <dgm:ruleLst/>
            <dgm:layoutNode name="rootText" styleLbl="node1"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 ptType="node" cnt="1"/>
              <dgm:constrLst>
                <dgm:constr type="tMarg" refType="primFontSz" fact="0.1"/>
                <dgm:constr type="bMarg" refType="primFontSz" fact="0.1"/>
                <dgm:constr type="lMarg" refType="primFontSz" fact="0.15"/>
                <dgm:constr type="rMarg" refType="primFontSz" fact="0.15"/>
              </dgm:constrLst>
              <dgm:ruleLst>
                <dgm:rule type="primFontSz" val="5" fact="NaN" max="NaN"/>
              </dgm:ruleLst>
            </dgm:layoutNode>
            <dgm:layoutNode name="rootConnector" moveWith="rootText">
              <dgm:alg type="sp"/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self" ptType="node" cnt="1"/>
              <dgm:constrLst/>
              <dgm:ruleLst/>
            </dgm:layoutNode>
          </dgm:layoutNode>
          <dgm:layoutNode name="childShape">
            <dgm:alg type="hierChild">
              <dgm:param type="chAlign" val="l"/>
              <dgm:param type="linDir" val="fromT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11" axis="ch">
              <dgm:forEach name="Name12" axis="self" ptType="parTrans" cnt="1">
                <dgm:layoutNode name="Name13">
                  <dgm:choose name="Name14">
                    <dgm:if name="Name15" func="var" arg="dir" op="equ" val="norm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L"/>
                      </dgm:alg>
                    </dgm:if>
                    <dgm:else name="Name16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R"/>
                      </dgm:alg>
                    </dgm:else>
                  </dgm:choose>
                  <dgm:shape xmlns:r="http://schemas.openxmlformats.org/officeDocument/2006/relationships" type="conn" r:blip="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7" axis="self" ptType="node">
                <dgm:layoutNode name="childText" styleLbl="bgAcc1">
                  <dgm:varLst>
                    <dgm:bulletEnabled val="1"/>
                  </dgm:varLst>
                  <dgm:alg type="tx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self desOrSelf" ptType="node node" st="1 1" cnt="1 0"/>
                  <dgm:constrLst>
                    <dgm:constr type="tMarg" refType="primFontSz" fact="0.1"/>
                    <dgm:constr type="bMarg" refType="primFontSz" fact="0.1"/>
                    <dgm:constr type="lMarg" refType="primFontSz" fact="0.15"/>
                    <dgm:constr type="rMarg" refType="primFontSz" fact="0.15"/>
                  </dgm:constrLst>
                  <dgm:ruleLst>
                    <dgm:rule type="primFontSz" val="5" fact="NaN" max="NaN"/>
                  </dgm:ruleLst>
                </dgm:layoutNode>
              </dgm:forEach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8712200" cy="5667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11387138" y="0"/>
            <a:ext cx="8712200" cy="5667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CE8DFFD-AD84-47C6-9DA7-7C4E606ABB95}" type="datetimeFigureOut">
              <a:rPr lang="ru-RU" smtClean="0"/>
              <a:t>06.02.2023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659563" y="1414463"/>
            <a:ext cx="6784975" cy="38163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2009775" y="5441950"/>
            <a:ext cx="16084550" cy="44545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10742613"/>
            <a:ext cx="8712200" cy="56673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11387138" y="10742613"/>
            <a:ext cx="8712200" cy="56673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2C413DE-8CFA-41DE-BFD1-4C7D87250B3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5399663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2C413DE-8CFA-41DE-BFD1-4C7D87250B3A}" type="slidenum">
              <a:rPr lang="ru-RU" smtClean="0"/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5465233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2C413DE-8CFA-41DE-BFD1-4C7D87250B3A}" type="slidenum">
              <a:rPr lang="ru-RU" smtClean="0"/>
              <a:t>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1756184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1507807" y="3505898"/>
            <a:ext cx="17088486" cy="237496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3015615" y="6333236"/>
            <a:ext cx="14072870" cy="282733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2/6/2023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7900" b="0" i="0">
                <a:solidFill>
                  <a:srgbClr val="534741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2/6/2023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7900" b="0" i="0">
                <a:solidFill>
                  <a:srgbClr val="534741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1005205" y="2601150"/>
            <a:ext cx="8745284" cy="746417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10353611" y="2601150"/>
            <a:ext cx="8745284" cy="746417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2/6/2023</a:t>
            </a:fld>
            <a:endParaRPr lang="en-US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7900" b="0" i="0">
                <a:solidFill>
                  <a:srgbClr val="534741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2/6/2023</a:t>
            </a:fld>
            <a:endParaRPr lang="en-US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bg object 16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20104100" cy="11308556"/>
          </a:xfrm>
          <a:prstGeom prst="rect">
            <a:avLst/>
          </a:prstGeom>
        </p:spPr>
      </p:pic>
      <p:pic>
        <p:nvPicPr>
          <p:cNvPr id="17" name="bg object 17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-7854" y="0"/>
            <a:ext cx="19233657" cy="11324263"/>
          </a:xfrm>
          <a:prstGeom prst="rect">
            <a:avLst/>
          </a:prstGeom>
        </p:spPr>
      </p:pic>
      <p:pic>
        <p:nvPicPr>
          <p:cNvPr id="18" name="bg object 18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5892087" y="2023433"/>
            <a:ext cx="8319917" cy="8318500"/>
          </a:xfrm>
          <a:prstGeom prst="rect">
            <a:avLst/>
          </a:prstGeom>
        </p:spPr>
      </p:pic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2/6/2023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Заголовок и пункт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3493" y="3493"/>
          <a:ext cx="3489" cy="34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3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2" name="Объект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493" y="3493"/>
                        <a:ext cx="3489" cy="348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6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2897711" y="147858"/>
            <a:ext cx="15614184" cy="1215717"/>
          </a:xfrm>
          <a:prstGeom prst="rect">
            <a:avLst/>
          </a:prstGeom>
        </p:spPr>
        <p:txBody>
          <a:bodyPr/>
          <a:lstStyle/>
          <a:p>
            <a:r>
              <a:rPr dirty="0" err="1"/>
              <a:t>Текст</a:t>
            </a:r>
            <a:r>
              <a:rPr dirty="0"/>
              <a:t> </a:t>
            </a:r>
            <a:r>
              <a:rPr dirty="0" err="1"/>
              <a:t>заголовка</a:t>
            </a:r>
            <a:endParaRPr dirty="0"/>
          </a:p>
        </p:txBody>
      </p:sp>
      <p:sp>
        <p:nvSpPr>
          <p:cNvPr id="57" name="Уровень текста 1…"/>
          <p:cNvSpPr txBox="1">
            <a:spLocks noGrp="1"/>
          </p:cNvSpPr>
          <p:nvPr>
            <p:ph type="body" idx="1"/>
          </p:nvPr>
        </p:nvSpPr>
        <p:spPr>
          <a:xfrm>
            <a:off x="1255667" y="3928323"/>
            <a:ext cx="17592763" cy="3045277"/>
          </a:xfrm>
          <a:prstGeom prst="rect">
            <a:avLst/>
          </a:prstGeom>
        </p:spPr>
        <p:txBody>
          <a:bodyPr/>
          <a:lstStyle>
            <a:lvl1pPr>
              <a:defRPr sz="3958"/>
            </a:lvl1pPr>
            <a:lvl2pPr>
              <a:defRPr sz="3958"/>
            </a:lvl2pPr>
            <a:lvl3pPr>
              <a:defRPr sz="3958"/>
            </a:lvl3pPr>
            <a:lvl4pPr>
              <a:defRPr sz="3958"/>
            </a:lvl4pPr>
            <a:lvl5pPr>
              <a:defRPr sz="3958"/>
            </a:lvl5pPr>
          </a:lstStyle>
          <a:p>
            <a:r>
              <a:rPr dirty="0"/>
              <a:t>Уровень </a:t>
            </a:r>
            <a:r>
              <a:rPr dirty="0" err="1"/>
              <a:t>текста</a:t>
            </a:r>
            <a:r>
              <a:rPr dirty="0"/>
              <a:t> 1</a:t>
            </a:r>
          </a:p>
          <a:p>
            <a:pPr lvl="1"/>
            <a:r>
              <a:rPr dirty="0"/>
              <a:t>Уровень </a:t>
            </a:r>
            <a:r>
              <a:rPr dirty="0" err="1"/>
              <a:t>текста</a:t>
            </a:r>
            <a:r>
              <a:rPr dirty="0"/>
              <a:t> 2</a:t>
            </a:r>
          </a:p>
          <a:p>
            <a:pPr lvl="2"/>
            <a:r>
              <a:rPr dirty="0"/>
              <a:t>Уровень </a:t>
            </a:r>
            <a:r>
              <a:rPr dirty="0" err="1"/>
              <a:t>текста</a:t>
            </a:r>
            <a:r>
              <a:rPr dirty="0"/>
              <a:t> 3</a:t>
            </a:r>
          </a:p>
          <a:p>
            <a:pPr lvl="3"/>
            <a:r>
              <a:rPr dirty="0"/>
              <a:t>Уровень </a:t>
            </a:r>
            <a:r>
              <a:rPr dirty="0" err="1"/>
              <a:t>текста</a:t>
            </a:r>
            <a:r>
              <a:rPr dirty="0"/>
              <a:t> 4</a:t>
            </a:r>
          </a:p>
          <a:p>
            <a:pPr lvl="4"/>
            <a:r>
              <a:rPr dirty="0"/>
              <a:t>Уровень </a:t>
            </a:r>
            <a:r>
              <a:rPr dirty="0" err="1"/>
              <a:t>текста</a:t>
            </a:r>
            <a:r>
              <a:rPr dirty="0"/>
              <a:t> 5</a:t>
            </a:r>
          </a:p>
        </p:txBody>
      </p:sp>
      <p:sp>
        <p:nvSpPr>
          <p:cNvPr id="58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14474952" y="10517696"/>
            <a:ext cx="4623943" cy="276999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305634907"/>
      </p:ext>
    </p:extLst>
  </p:cSld>
  <p:clrMapOvr>
    <a:masterClrMapping/>
  </p:clrMapOvr>
  <p:transition spd="med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bg object 16"/>
          <p:cNvPicPr/>
          <p:nvPr/>
        </p:nvPicPr>
        <p:blipFill>
          <a:blip r:embed="rId8" cstate="print"/>
          <a:stretch>
            <a:fillRect/>
          </a:stretch>
        </p:blipFill>
        <p:spPr>
          <a:xfrm>
            <a:off x="906922" y="676229"/>
            <a:ext cx="4048014" cy="2146299"/>
          </a:xfrm>
          <a:prstGeom prst="rect">
            <a:avLst/>
          </a:prstGeom>
        </p:spPr>
      </p:pic>
      <p:sp>
        <p:nvSpPr>
          <p:cNvPr id="17" name="bg object 17"/>
          <p:cNvSpPr/>
          <p:nvPr/>
        </p:nvSpPr>
        <p:spPr>
          <a:xfrm>
            <a:off x="1302126" y="10132834"/>
            <a:ext cx="11755755" cy="1176020"/>
          </a:xfrm>
          <a:custGeom>
            <a:avLst/>
            <a:gdLst/>
            <a:ahLst/>
            <a:cxnLst/>
            <a:rect l="l" t="t" r="r" b="b"/>
            <a:pathLst>
              <a:path w="11755755" h="1176020">
                <a:moveTo>
                  <a:pt x="4460013" y="0"/>
                </a:moveTo>
                <a:lnTo>
                  <a:pt x="100688" y="1103627"/>
                </a:lnTo>
                <a:lnTo>
                  <a:pt x="0" y="1175722"/>
                </a:lnTo>
                <a:lnTo>
                  <a:pt x="2423324" y="1175722"/>
                </a:lnTo>
                <a:lnTo>
                  <a:pt x="2460337" y="1159113"/>
                </a:lnTo>
                <a:lnTo>
                  <a:pt x="2529355" y="1128852"/>
                </a:lnTo>
                <a:lnTo>
                  <a:pt x="2668149" y="1070079"/>
                </a:lnTo>
                <a:lnTo>
                  <a:pt x="2807904" y="1013606"/>
                </a:lnTo>
                <a:lnTo>
                  <a:pt x="2948562" y="959395"/>
                </a:lnTo>
                <a:lnTo>
                  <a:pt x="3090065" y="907406"/>
                </a:lnTo>
                <a:lnTo>
                  <a:pt x="3232354" y="857600"/>
                </a:lnTo>
                <a:lnTo>
                  <a:pt x="3375370" y="809937"/>
                </a:lnTo>
                <a:lnTo>
                  <a:pt x="3519056" y="764379"/>
                </a:lnTo>
                <a:lnTo>
                  <a:pt x="3663353" y="720886"/>
                </a:lnTo>
                <a:lnTo>
                  <a:pt x="3808203" y="679418"/>
                </a:lnTo>
                <a:lnTo>
                  <a:pt x="3953546" y="639937"/>
                </a:lnTo>
                <a:lnTo>
                  <a:pt x="4099325" y="602404"/>
                </a:lnTo>
                <a:lnTo>
                  <a:pt x="4245481" y="566778"/>
                </a:lnTo>
                <a:lnTo>
                  <a:pt x="4465294" y="516831"/>
                </a:lnTo>
                <a:lnTo>
                  <a:pt x="4685627" y="470957"/>
                </a:lnTo>
                <a:lnTo>
                  <a:pt x="4906283" y="429022"/>
                </a:lnTo>
                <a:lnTo>
                  <a:pt x="5127064" y="390894"/>
                </a:lnTo>
                <a:lnTo>
                  <a:pt x="5347773" y="356440"/>
                </a:lnTo>
                <a:lnTo>
                  <a:pt x="5568213" y="325529"/>
                </a:lnTo>
                <a:lnTo>
                  <a:pt x="5861374" y="289595"/>
                </a:lnTo>
                <a:lnTo>
                  <a:pt x="6153239" y="259408"/>
                </a:lnTo>
                <a:lnTo>
                  <a:pt x="6443339" y="234655"/>
                </a:lnTo>
                <a:lnTo>
                  <a:pt x="6731209" y="215020"/>
                </a:lnTo>
                <a:lnTo>
                  <a:pt x="7087195" y="197197"/>
                </a:lnTo>
                <a:lnTo>
                  <a:pt x="7407516" y="186997"/>
                </a:lnTo>
                <a:lnTo>
                  <a:pt x="4460013" y="0"/>
                </a:lnTo>
                <a:close/>
              </a:path>
              <a:path w="11755755" h="1176020">
                <a:moveTo>
                  <a:pt x="7918894" y="181383"/>
                </a:moveTo>
                <a:lnTo>
                  <a:pt x="7782865" y="181621"/>
                </a:lnTo>
                <a:lnTo>
                  <a:pt x="7407516" y="186997"/>
                </a:lnTo>
                <a:lnTo>
                  <a:pt x="11755197" y="462826"/>
                </a:lnTo>
                <a:lnTo>
                  <a:pt x="10414909" y="316312"/>
                </a:lnTo>
                <a:lnTo>
                  <a:pt x="9841428" y="264359"/>
                </a:lnTo>
                <a:lnTo>
                  <a:pt x="9325041" y="227383"/>
                </a:lnTo>
                <a:lnTo>
                  <a:pt x="8835023" y="201809"/>
                </a:lnTo>
                <a:lnTo>
                  <a:pt x="8385386" y="187124"/>
                </a:lnTo>
                <a:lnTo>
                  <a:pt x="7986473" y="181592"/>
                </a:lnTo>
                <a:lnTo>
                  <a:pt x="7918894" y="181383"/>
                </a:lnTo>
                <a:close/>
              </a:path>
            </a:pathLst>
          </a:custGeom>
          <a:solidFill>
            <a:srgbClr val="E2CE8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" name="bg object 18"/>
          <p:cNvSpPr/>
          <p:nvPr/>
        </p:nvSpPr>
        <p:spPr>
          <a:xfrm>
            <a:off x="-2" y="9863787"/>
            <a:ext cx="20104100" cy="1287780"/>
          </a:xfrm>
          <a:custGeom>
            <a:avLst/>
            <a:gdLst/>
            <a:ahLst/>
            <a:cxnLst/>
            <a:rect l="l" t="t" r="r" b="b"/>
            <a:pathLst>
              <a:path w="20104100" h="1287779">
                <a:moveTo>
                  <a:pt x="20104100" y="536605"/>
                </a:moveTo>
                <a:lnTo>
                  <a:pt x="17905053" y="1025375"/>
                </a:lnTo>
                <a:lnTo>
                  <a:pt x="17828359" y="1040137"/>
                </a:lnTo>
                <a:lnTo>
                  <a:pt x="17751775" y="1054424"/>
                </a:lnTo>
                <a:lnTo>
                  <a:pt x="17675300" y="1068240"/>
                </a:lnTo>
                <a:lnTo>
                  <a:pt x="17598931" y="1081588"/>
                </a:lnTo>
                <a:lnTo>
                  <a:pt x="17522666" y="1094472"/>
                </a:lnTo>
                <a:lnTo>
                  <a:pt x="17446503" y="1106898"/>
                </a:lnTo>
                <a:lnTo>
                  <a:pt x="17370441" y="1118869"/>
                </a:lnTo>
                <a:lnTo>
                  <a:pt x="17294476" y="1130389"/>
                </a:lnTo>
                <a:lnTo>
                  <a:pt x="17218607" y="1141463"/>
                </a:lnTo>
                <a:lnTo>
                  <a:pt x="17142832" y="1152095"/>
                </a:lnTo>
                <a:lnTo>
                  <a:pt x="17067148" y="1162288"/>
                </a:lnTo>
                <a:lnTo>
                  <a:pt x="16991554" y="1172048"/>
                </a:lnTo>
                <a:lnTo>
                  <a:pt x="16916047" y="1181378"/>
                </a:lnTo>
                <a:lnTo>
                  <a:pt x="16840626" y="1190283"/>
                </a:lnTo>
                <a:lnTo>
                  <a:pt x="16765288" y="1198766"/>
                </a:lnTo>
                <a:lnTo>
                  <a:pt x="16690032" y="1206832"/>
                </a:lnTo>
                <a:lnTo>
                  <a:pt x="16614855" y="1214485"/>
                </a:lnTo>
                <a:lnTo>
                  <a:pt x="16539754" y="1221729"/>
                </a:lnTo>
                <a:lnTo>
                  <a:pt x="16464729" y="1228569"/>
                </a:lnTo>
                <a:lnTo>
                  <a:pt x="16389776" y="1235008"/>
                </a:lnTo>
                <a:lnTo>
                  <a:pt x="16314895" y="1241051"/>
                </a:lnTo>
                <a:lnTo>
                  <a:pt x="16240082" y="1246703"/>
                </a:lnTo>
                <a:lnTo>
                  <a:pt x="16165335" y="1251966"/>
                </a:lnTo>
                <a:lnTo>
                  <a:pt x="16090654" y="1256846"/>
                </a:lnTo>
                <a:lnTo>
                  <a:pt x="16016034" y="1261346"/>
                </a:lnTo>
                <a:lnTo>
                  <a:pt x="15941475" y="1265471"/>
                </a:lnTo>
                <a:lnTo>
                  <a:pt x="15866975" y="1269225"/>
                </a:lnTo>
                <a:lnTo>
                  <a:pt x="15792530" y="1272613"/>
                </a:lnTo>
                <a:lnTo>
                  <a:pt x="15718140" y="1275637"/>
                </a:lnTo>
                <a:lnTo>
                  <a:pt x="15643802" y="1278303"/>
                </a:lnTo>
                <a:lnTo>
                  <a:pt x="15569513" y="1280615"/>
                </a:lnTo>
                <a:lnTo>
                  <a:pt x="15495273" y="1282576"/>
                </a:lnTo>
                <a:lnTo>
                  <a:pt x="15421078" y="1284192"/>
                </a:lnTo>
                <a:lnTo>
                  <a:pt x="15346927" y="1285466"/>
                </a:lnTo>
                <a:lnTo>
                  <a:pt x="15272818" y="1286402"/>
                </a:lnTo>
                <a:lnTo>
                  <a:pt x="15198748" y="1287005"/>
                </a:lnTo>
                <a:lnTo>
                  <a:pt x="15124716" y="1287279"/>
                </a:lnTo>
                <a:lnTo>
                  <a:pt x="15050718" y="1287228"/>
                </a:lnTo>
                <a:lnTo>
                  <a:pt x="14976755" y="1286856"/>
                </a:lnTo>
                <a:lnTo>
                  <a:pt x="14902822" y="1286168"/>
                </a:lnTo>
                <a:lnTo>
                  <a:pt x="14828918" y="1285167"/>
                </a:lnTo>
                <a:lnTo>
                  <a:pt x="14755042" y="1283857"/>
                </a:lnTo>
                <a:lnTo>
                  <a:pt x="14681190" y="1282244"/>
                </a:lnTo>
                <a:lnTo>
                  <a:pt x="14607362" y="1280331"/>
                </a:lnTo>
                <a:lnTo>
                  <a:pt x="14533554" y="1278122"/>
                </a:lnTo>
                <a:lnTo>
                  <a:pt x="14459764" y="1275622"/>
                </a:lnTo>
                <a:lnTo>
                  <a:pt x="14385991" y="1272835"/>
                </a:lnTo>
                <a:lnTo>
                  <a:pt x="14312233" y="1269764"/>
                </a:lnTo>
                <a:lnTo>
                  <a:pt x="14238487" y="1266414"/>
                </a:lnTo>
                <a:lnTo>
                  <a:pt x="14164752" y="1262790"/>
                </a:lnTo>
                <a:lnTo>
                  <a:pt x="14091024" y="1258895"/>
                </a:lnTo>
                <a:lnTo>
                  <a:pt x="14017303" y="1254734"/>
                </a:lnTo>
                <a:lnTo>
                  <a:pt x="13943586" y="1250311"/>
                </a:lnTo>
                <a:lnTo>
                  <a:pt x="13869871" y="1245630"/>
                </a:lnTo>
                <a:lnTo>
                  <a:pt x="13796156" y="1240695"/>
                </a:lnTo>
                <a:lnTo>
                  <a:pt x="13722438" y="1235510"/>
                </a:lnTo>
                <a:lnTo>
                  <a:pt x="13648716" y="1230080"/>
                </a:lnTo>
                <a:lnTo>
                  <a:pt x="13574988" y="1224409"/>
                </a:lnTo>
                <a:lnTo>
                  <a:pt x="13501252" y="1218500"/>
                </a:lnTo>
                <a:lnTo>
                  <a:pt x="13427505" y="1212359"/>
                </a:lnTo>
                <a:lnTo>
                  <a:pt x="13353745" y="1205989"/>
                </a:lnTo>
                <a:lnTo>
                  <a:pt x="13279971" y="1199395"/>
                </a:lnTo>
                <a:lnTo>
                  <a:pt x="13206179" y="1192580"/>
                </a:lnTo>
                <a:lnTo>
                  <a:pt x="13132369" y="1185550"/>
                </a:lnTo>
                <a:lnTo>
                  <a:pt x="13058538" y="1178307"/>
                </a:lnTo>
                <a:lnTo>
                  <a:pt x="12984684" y="1170857"/>
                </a:lnTo>
                <a:lnTo>
                  <a:pt x="12910805" y="1163203"/>
                </a:lnTo>
                <a:lnTo>
                  <a:pt x="12836899" y="1155350"/>
                </a:lnTo>
                <a:lnTo>
                  <a:pt x="12762963" y="1147302"/>
                </a:lnTo>
                <a:lnTo>
                  <a:pt x="12688996" y="1139062"/>
                </a:lnTo>
                <a:lnTo>
                  <a:pt x="12614995" y="1130636"/>
                </a:lnTo>
                <a:lnTo>
                  <a:pt x="12540959" y="1122028"/>
                </a:lnTo>
                <a:lnTo>
                  <a:pt x="12466885" y="1113241"/>
                </a:lnTo>
                <a:lnTo>
                  <a:pt x="12392772" y="1104280"/>
                </a:lnTo>
                <a:lnTo>
                  <a:pt x="12318616" y="1095149"/>
                </a:lnTo>
                <a:lnTo>
                  <a:pt x="12244417" y="1085851"/>
                </a:lnTo>
                <a:lnTo>
                  <a:pt x="12170172" y="1076393"/>
                </a:lnTo>
                <a:lnTo>
                  <a:pt x="12095878" y="1066777"/>
                </a:lnTo>
                <a:lnTo>
                  <a:pt x="12021535" y="1057007"/>
                </a:lnTo>
                <a:lnTo>
                  <a:pt x="11947139" y="1047089"/>
                </a:lnTo>
                <a:lnTo>
                  <a:pt x="11872689" y="1037025"/>
                </a:lnTo>
                <a:lnTo>
                  <a:pt x="11798182" y="1026821"/>
                </a:lnTo>
                <a:lnTo>
                  <a:pt x="11723617" y="1016481"/>
                </a:lnTo>
                <a:lnTo>
                  <a:pt x="11648992" y="1006008"/>
                </a:lnTo>
                <a:lnTo>
                  <a:pt x="11574303" y="995407"/>
                </a:lnTo>
                <a:lnTo>
                  <a:pt x="11499550" y="984682"/>
                </a:lnTo>
                <a:lnTo>
                  <a:pt x="11424730" y="973837"/>
                </a:lnTo>
                <a:lnTo>
                  <a:pt x="11349841" y="962877"/>
                </a:lnTo>
                <a:lnTo>
                  <a:pt x="11274881" y="951805"/>
                </a:lnTo>
                <a:lnTo>
                  <a:pt x="11199848" y="940626"/>
                </a:lnTo>
                <a:lnTo>
                  <a:pt x="11124740" y="929345"/>
                </a:lnTo>
                <a:lnTo>
                  <a:pt x="11049555" y="917964"/>
                </a:lnTo>
                <a:lnTo>
                  <a:pt x="10974290" y="906488"/>
                </a:lnTo>
                <a:lnTo>
                  <a:pt x="10898944" y="894923"/>
                </a:lnTo>
                <a:lnTo>
                  <a:pt x="10823514" y="883271"/>
                </a:lnTo>
                <a:lnTo>
                  <a:pt x="10747999" y="871537"/>
                </a:lnTo>
                <a:lnTo>
                  <a:pt x="10672395" y="859725"/>
                </a:lnTo>
                <a:lnTo>
                  <a:pt x="10596702" y="847839"/>
                </a:lnTo>
                <a:lnTo>
                  <a:pt x="10520918" y="835884"/>
                </a:lnTo>
                <a:lnTo>
                  <a:pt x="10445039" y="823863"/>
                </a:lnTo>
                <a:lnTo>
                  <a:pt x="10369064" y="811782"/>
                </a:lnTo>
                <a:lnTo>
                  <a:pt x="10292991" y="799643"/>
                </a:lnTo>
                <a:lnTo>
                  <a:pt x="10216818" y="787452"/>
                </a:lnTo>
                <a:lnTo>
                  <a:pt x="10140542" y="775212"/>
                </a:lnTo>
                <a:lnTo>
                  <a:pt x="10064163" y="762928"/>
                </a:lnTo>
                <a:lnTo>
                  <a:pt x="9987676" y="750604"/>
                </a:lnTo>
                <a:lnTo>
                  <a:pt x="9911081" y="738243"/>
                </a:lnTo>
                <a:lnTo>
                  <a:pt x="9834376" y="725851"/>
                </a:lnTo>
                <a:lnTo>
                  <a:pt x="9757558" y="713431"/>
                </a:lnTo>
                <a:lnTo>
                  <a:pt x="9680624" y="700988"/>
                </a:lnTo>
                <a:lnTo>
                  <a:pt x="9603574" y="688526"/>
                </a:lnTo>
                <a:lnTo>
                  <a:pt x="9526405" y="676048"/>
                </a:lnTo>
                <a:lnTo>
                  <a:pt x="9449115" y="663560"/>
                </a:lnTo>
                <a:lnTo>
                  <a:pt x="9371702" y="651065"/>
                </a:lnTo>
                <a:lnTo>
                  <a:pt x="9294164" y="638567"/>
                </a:lnTo>
                <a:lnTo>
                  <a:pt x="9216498" y="626072"/>
                </a:lnTo>
                <a:lnTo>
                  <a:pt x="9138702" y="613582"/>
                </a:lnTo>
                <a:lnTo>
                  <a:pt x="9060776" y="601102"/>
                </a:lnTo>
                <a:lnTo>
                  <a:pt x="8982715" y="588636"/>
                </a:lnTo>
                <a:lnTo>
                  <a:pt x="8904519" y="576189"/>
                </a:lnTo>
                <a:lnTo>
                  <a:pt x="8826185" y="563765"/>
                </a:lnTo>
                <a:lnTo>
                  <a:pt x="8747712" y="551367"/>
                </a:lnTo>
                <a:lnTo>
                  <a:pt x="8669096" y="539000"/>
                </a:lnTo>
                <a:lnTo>
                  <a:pt x="8590337" y="526669"/>
                </a:lnTo>
                <a:lnTo>
                  <a:pt x="8511431" y="514377"/>
                </a:lnTo>
                <a:lnTo>
                  <a:pt x="8432377" y="502129"/>
                </a:lnTo>
                <a:lnTo>
                  <a:pt x="8353173" y="489928"/>
                </a:lnTo>
                <a:lnTo>
                  <a:pt x="8273816" y="477779"/>
                </a:lnTo>
                <a:lnTo>
                  <a:pt x="8194305" y="465687"/>
                </a:lnTo>
                <a:lnTo>
                  <a:pt x="8114638" y="453654"/>
                </a:lnTo>
                <a:lnTo>
                  <a:pt x="8034812" y="441687"/>
                </a:lnTo>
                <a:lnTo>
                  <a:pt x="7954825" y="429788"/>
                </a:lnTo>
                <a:lnTo>
                  <a:pt x="7874675" y="417962"/>
                </a:lnTo>
                <a:lnTo>
                  <a:pt x="7794361" y="406213"/>
                </a:lnTo>
                <a:lnTo>
                  <a:pt x="7713879" y="394545"/>
                </a:lnTo>
                <a:lnTo>
                  <a:pt x="7633229" y="382963"/>
                </a:lnTo>
                <a:lnTo>
                  <a:pt x="7552407" y="371470"/>
                </a:lnTo>
                <a:lnTo>
                  <a:pt x="7471412" y="360072"/>
                </a:lnTo>
                <a:lnTo>
                  <a:pt x="7390242" y="348771"/>
                </a:lnTo>
                <a:lnTo>
                  <a:pt x="7308894" y="337572"/>
                </a:lnTo>
                <a:lnTo>
                  <a:pt x="7227367" y="326480"/>
                </a:lnTo>
                <a:lnTo>
                  <a:pt x="7145659" y="315499"/>
                </a:lnTo>
                <a:lnTo>
                  <a:pt x="7063767" y="304632"/>
                </a:lnTo>
                <a:lnTo>
                  <a:pt x="6981689" y="293885"/>
                </a:lnTo>
                <a:lnTo>
                  <a:pt x="6899423" y="283260"/>
                </a:lnTo>
                <a:lnTo>
                  <a:pt x="6816967" y="272763"/>
                </a:lnTo>
                <a:lnTo>
                  <a:pt x="6734319" y="262397"/>
                </a:lnTo>
                <a:lnTo>
                  <a:pt x="6651478" y="252167"/>
                </a:lnTo>
                <a:lnTo>
                  <a:pt x="6568440" y="242077"/>
                </a:lnTo>
                <a:lnTo>
                  <a:pt x="6485203" y="232131"/>
                </a:lnTo>
                <a:lnTo>
                  <a:pt x="6401767" y="222334"/>
                </a:lnTo>
                <a:lnTo>
                  <a:pt x="6318128" y="212689"/>
                </a:lnTo>
                <a:lnTo>
                  <a:pt x="6234284" y="203200"/>
                </a:lnTo>
                <a:lnTo>
                  <a:pt x="6150234" y="193873"/>
                </a:lnTo>
                <a:lnTo>
                  <a:pt x="6065976" y="184710"/>
                </a:lnTo>
                <a:lnTo>
                  <a:pt x="5981506" y="175717"/>
                </a:lnTo>
                <a:lnTo>
                  <a:pt x="5896824" y="166897"/>
                </a:lnTo>
                <a:lnTo>
                  <a:pt x="5811927" y="158254"/>
                </a:lnTo>
                <a:lnTo>
                  <a:pt x="5726812" y="149794"/>
                </a:lnTo>
                <a:lnTo>
                  <a:pt x="5641479" y="141519"/>
                </a:lnTo>
                <a:lnTo>
                  <a:pt x="5555924" y="133435"/>
                </a:lnTo>
                <a:lnTo>
                  <a:pt x="5470147" y="125545"/>
                </a:lnTo>
                <a:lnTo>
                  <a:pt x="5384143" y="117854"/>
                </a:lnTo>
                <a:lnTo>
                  <a:pt x="5297913" y="110365"/>
                </a:lnTo>
                <a:lnTo>
                  <a:pt x="5211452" y="103083"/>
                </a:lnTo>
                <a:lnTo>
                  <a:pt x="5124761" y="96013"/>
                </a:lnTo>
                <a:lnTo>
                  <a:pt x="5037835" y="89157"/>
                </a:lnTo>
                <a:lnTo>
                  <a:pt x="4950674" y="82522"/>
                </a:lnTo>
                <a:lnTo>
                  <a:pt x="4863275" y="76109"/>
                </a:lnTo>
                <a:lnTo>
                  <a:pt x="4775635" y="69925"/>
                </a:lnTo>
                <a:lnTo>
                  <a:pt x="4687754" y="63973"/>
                </a:lnTo>
                <a:lnTo>
                  <a:pt x="4599629" y="58257"/>
                </a:lnTo>
                <a:lnTo>
                  <a:pt x="4511257" y="52781"/>
                </a:lnTo>
                <a:lnTo>
                  <a:pt x="4422638" y="47551"/>
                </a:lnTo>
                <a:lnTo>
                  <a:pt x="4333767" y="42568"/>
                </a:lnTo>
                <a:lnTo>
                  <a:pt x="4244645" y="37839"/>
                </a:lnTo>
                <a:lnTo>
                  <a:pt x="4155267" y="33367"/>
                </a:lnTo>
                <a:lnTo>
                  <a:pt x="4065633" y="29157"/>
                </a:lnTo>
                <a:lnTo>
                  <a:pt x="3975741" y="25212"/>
                </a:lnTo>
                <a:lnTo>
                  <a:pt x="3885587" y="21537"/>
                </a:lnTo>
                <a:lnTo>
                  <a:pt x="3795171" y="18136"/>
                </a:lnTo>
                <a:lnTo>
                  <a:pt x="3704489" y="15012"/>
                </a:lnTo>
                <a:lnTo>
                  <a:pt x="3613541" y="12172"/>
                </a:lnTo>
                <a:lnTo>
                  <a:pt x="3522323" y="9617"/>
                </a:lnTo>
                <a:lnTo>
                  <a:pt x="3430835" y="7354"/>
                </a:lnTo>
                <a:lnTo>
                  <a:pt x="3339072" y="5385"/>
                </a:lnTo>
                <a:lnTo>
                  <a:pt x="3247035" y="3715"/>
                </a:lnTo>
                <a:lnTo>
                  <a:pt x="3154720" y="2349"/>
                </a:lnTo>
                <a:lnTo>
                  <a:pt x="3062125" y="1290"/>
                </a:lnTo>
                <a:lnTo>
                  <a:pt x="2969248" y="542"/>
                </a:lnTo>
                <a:lnTo>
                  <a:pt x="2876088" y="111"/>
                </a:lnTo>
                <a:lnTo>
                  <a:pt x="2782642" y="0"/>
                </a:lnTo>
                <a:lnTo>
                  <a:pt x="2688908" y="212"/>
                </a:lnTo>
                <a:lnTo>
                  <a:pt x="2594884" y="753"/>
                </a:lnTo>
                <a:lnTo>
                  <a:pt x="2500568" y="1627"/>
                </a:lnTo>
                <a:lnTo>
                  <a:pt x="2405958" y="2837"/>
                </a:lnTo>
                <a:lnTo>
                  <a:pt x="2311052" y="4389"/>
                </a:lnTo>
                <a:lnTo>
                  <a:pt x="2215847" y="6285"/>
                </a:lnTo>
                <a:lnTo>
                  <a:pt x="2120341" y="8531"/>
                </a:lnTo>
                <a:lnTo>
                  <a:pt x="2024534" y="11131"/>
                </a:lnTo>
                <a:lnTo>
                  <a:pt x="0" y="217540"/>
                </a:lnTo>
              </a:path>
            </a:pathLst>
          </a:custGeom>
          <a:ln w="31412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" name="bg object 19"/>
          <p:cNvSpPr/>
          <p:nvPr/>
        </p:nvSpPr>
        <p:spPr>
          <a:xfrm>
            <a:off x="3276342" y="9101828"/>
            <a:ext cx="16828135" cy="2207260"/>
          </a:xfrm>
          <a:custGeom>
            <a:avLst/>
            <a:gdLst/>
            <a:ahLst/>
            <a:cxnLst/>
            <a:rect l="l" t="t" r="r" b="b"/>
            <a:pathLst>
              <a:path w="16828135" h="2207259">
                <a:moveTo>
                  <a:pt x="0" y="2206727"/>
                </a:moveTo>
                <a:lnTo>
                  <a:pt x="52681" y="2180654"/>
                </a:lnTo>
                <a:lnTo>
                  <a:pt x="120032" y="2148097"/>
                </a:lnTo>
                <a:lnTo>
                  <a:pt x="187718" y="2116141"/>
                </a:lnTo>
                <a:lnTo>
                  <a:pt x="255732" y="2084783"/>
                </a:lnTo>
                <a:lnTo>
                  <a:pt x="324065" y="2054016"/>
                </a:lnTo>
                <a:lnTo>
                  <a:pt x="392709" y="2023836"/>
                </a:lnTo>
                <a:lnTo>
                  <a:pt x="461658" y="1994239"/>
                </a:lnTo>
                <a:lnTo>
                  <a:pt x="530902" y="1965218"/>
                </a:lnTo>
                <a:lnTo>
                  <a:pt x="600434" y="1936771"/>
                </a:lnTo>
                <a:lnTo>
                  <a:pt x="670246" y="1908891"/>
                </a:lnTo>
                <a:lnTo>
                  <a:pt x="740330" y="1881573"/>
                </a:lnTo>
                <a:lnTo>
                  <a:pt x="810678" y="1854813"/>
                </a:lnTo>
                <a:lnTo>
                  <a:pt x="881283" y="1828607"/>
                </a:lnTo>
                <a:lnTo>
                  <a:pt x="952135" y="1802948"/>
                </a:lnTo>
                <a:lnTo>
                  <a:pt x="1023229" y="1777832"/>
                </a:lnTo>
                <a:lnTo>
                  <a:pt x="1094554" y="1753255"/>
                </a:lnTo>
                <a:lnTo>
                  <a:pt x="1166105" y="1729211"/>
                </a:lnTo>
                <a:lnTo>
                  <a:pt x="1237872" y="1705696"/>
                </a:lnTo>
                <a:lnTo>
                  <a:pt x="1309847" y="1682704"/>
                </a:lnTo>
                <a:lnTo>
                  <a:pt x="1382024" y="1660231"/>
                </a:lnTo>
                <a:lnTo>
                  <a:pt x="1454394" y="1638272"/>
                </a:lnTo>
                <a:lnTo>
                  <a:pt x="1526948" y="1616822"/>
                </a:lnTo>
                <a:lnTo>
                  <a:pt x="1599680" y="1595876"/>
                </a:lnTo>
                <a:lnTo>
                  <a:pt x="1672582" y="1575429"/>
                </a:lnTo>
                <a:lnTo>
                  <a:pt x="1745644" y="1555477"/>
                </a:lnTo>
                <a:lnTo>
                  <a:pt x="1818860" y="1536014"/>
                </a:lnTo>
                <a:lnTo>
                  <a:pt x="1892221" y="1517036"/>
                </a:lnTo>
                <a:lnTo>
                  <a:pt x="1965721" y="1498538"/>
                </a:lnTo>
                <a:lnTo>
                  <a:pt x="2039349" y="1480514"/>
                </a:lnTo>
                <a:lnTo>
                  <a:pt x="2113100" y="1462961"/>
                </a:lnTo>
                <a:lnTo>
                  <a:pt x="2186964" y="1445872"/>
                </a:lnTo>
                <a:lnTo>
                  <a:pt x="2260935" y="1429244"/>
                </a:lnTo>
                <a:lnTo>
                  <a:pt x="2335004" y="1413071"/>
                </a:lnTo>
                <a:lnTo>
                  <a:pt x="2409162" y="1397349"/>
                </a:lnTo>
                <a:lnTo>
                  <a:pt x="2483403" y="1382072"/>
                </a:lnTo>
                <a:lnTo>
                  <a:pt x="2557719" y="1367236"/>
                </a:lnTo>
                <a:lnTo>
                  <a:pt x="2632101" y="1352836"/>
                </a:lnTo>
                <a:lnTo>
                  <a:pt x="2706541" y="1338867"/>
                </a:lnTo>
                <a:lnTo>
                  <a:pt x="2781032" y="1325323"/>
                </a:lnTo>
                <a:lnTo>
                  <a:pt x="2855566" y="1312201"/>
                </a:lnTo>
                <a:lnTo>
                  <a:pt x="2930135" y="1299496"/>
                </a:lnTo>
                <a:lnTo>
                  <a:pt x="3004730" y="1287201"/>
                </a:lnTo>
                <a:lnTo>
                  <a:pt x="3079345" y="1275314"/>
                </a:lnTo>
                <a:lnTo>
                  <a:pt x="3153970" y="1263828"/>
                </a:lnTo>
                <a:lnTo>
                  <a:pt x="3228599" y="1252738"/>
                </a:lnTo>
                <a:lnTo>
                  <a:pt x="3303223" y="1242041"/>
                </a:lnTo>
                <a:lnTo>
                  <a:pt x="3377835" y="1231731"/>
                </a:lnTo>
                <a:lnTo>
                  <a:pt x="3452426" y="1221803"/>
                </a:lnTo>
                <a:lnTo>
                  <a:pt x="3526988" y="1212252"/>
                </a:lnTo>
                <a:lnTo>
                  <a:pt x="3601515" y="1203074"/>
                </a:lnTo>
                <a:lnTo>
                  <a:pt x="3675997" y="1194263"/>
                </a:lnTo>
                <a:lnTo>
                  <a:pt x="3750426" y="1185815"/>
                </a:lnTo>
                <a:lnTo>
                  <a:pt x="3824796" y="1177724"/>
                </a:lnTo>
                <a:lnTo>
                  <a:pt x="3899098" y="1169987"/>
                </a:lnTo>
                <a:lnTo>
                  <a:pt x="3973324" y="1162597"/>
                </a:lnTo>
                <a:lnTo>
                  <a:pt x="4047466" y="1155551"/>
                </a:lnTo>
                <a:lnTo>
                  <a:pt x="4121517" y="1148843"/>
                </a:lnTo>
                <a:lnTo>
                  <a:pt x="4195467" y="1142468"/>
                </a:lnTo>
                <a:lnTo>
                  <a:pt x="4269311" y="1136422"/>
                </a:lnTo>
                <a:lnTo>
                  <a:pt x="4343039" y="1130699"/>
                </a:lnTo>
                <a:lnTo>
                  <a:pt x="4416643" y="1125296"/>
                </a:lnTo>
                <a:lnTo>
                  <a:pt x="4490116" y="1120206"/>
                </a:lnTo>
                <a:lnTo>
                  <a:pt x="4563451" y="1115425"/>
                </a:lnTo>
                <a:lnTo>
                  <a:pt x="4636638" y="1110948"/>
                </a:lnTo>
                <a:lnTo>
                  <a:pt x="4709670" y="1106770"/>
                </a:lnTo>
                <a:lnTo>
                  <a:pt x="4782539" y="1102887"/>
                </a:lnTo>
                <a:lnTo>
                  <a:pt x="4855238" y="1099293"/>
                </a:lnTo>
                <a:lnTo>
                  <a:pt x="4927758" y="1095984"/>
                </a:lnTo>
                <a:lnTo>
                  <a:pt x="5000091" y="1092954"/>
                </a:lnTo>
                <a:lnTo>
                  <a:pt x="5072230" y="1090200"/>
                </a:lnTo>
                <a:lnTo>
                  <a:pt x="5144166" y="1087715"/>
                </a:lnTo>
                <a:lnTo>
                  <a:pt x="5215893" y="1085495"/>
                </a:lnTo>
                <a:lnTo>
                  <a:pt x="5287400" y="1083536"/>
                </a:lnTo>
                <a:lnTo>
                  <a:pt x="5358682" y="1081832"/>
                </a:lnTo>
                <a:lnTo>
                  <a:pt x="5429730" y="1080378"/>
                </a:lnTo>
                <a:lnTo>
                  <a:pt x="5500536" y="1079170"/>
                </a:lnTo>
                <a:lnTo>
                  <a:pt x="5571092" y="1078203"/>
                </a:lnTo>
                <a:lnTo>
                  <a:pt x="5641390" y="1077471"/>
                </a:lnTo>
                <a:lnTo>
                  <a:pt x="5711423" y="1076970"/>
                </a:lnTo>
                <a:lnTo>
                  <a:pt x="5781182" y="1076696"/>
                </a:lnTo>
                <a:lnTo>
                  <a:pt x="5850659" y="1076642"/>
                </a:lnTo>
                <a:lnTo>
                  <a:pt x="5919847" y="1076805"/>
                </a:lnTo>
                <a:lnTo>
                  <a:pt x="5988738" y="1077179"/>
                </a:lnTo>
                <a:lnTo>
                  <a:pt x="6057324" y="1077760"/>
                </a:lnTo>
                <a:lnTo>
                  <a:pt x="6125596" y="1078543"/>
                </a:lnTo>
                <a:lnTo>
                  <a:pt x="6193548" y="1079522"/>
                </a:lnTo>
                <a:lnTo>
                  <a:pt x="6261170" y="1080693"/>
                </a:lnTo>
                <a:lnTo>
                  <a:pt x="6328456" y="1082051"/>
                </a:lnTo>
                <a:lnTo>
                  <a:pt x="6395397" y="1083591"/>
                </a:lnTo>
                <a:lnTo>
                  <a:pt x="6461986" y="1085309"/>
                </a:lnTo>
                <a:lnTo>
                  <a:pt x="6528213" y="1087199"/>
                </a:lnTo>
                <a:lnTo>
                  <a:pt x="6594073" y="1089256"/>
                </a:lnTo>
                <a:lnTo>
                  <a:pt x="6659556" y="1091477"/>
                </a:lnTo>
                <a:lnTo>
                  <a:pt x="6724655" y="1093854"/>
                </a:lnTo>
                <a:lnTo>
                  <a:pt x="6789361" y="1096385"/>
                </a:lnTo>
                <a:lnTo>
                  <a:pt x="6853668" y="1099064"/>
                </a:lnTo>
                <a:lnTo>
                  <a:pt x="6917566" y="1101886"/>
                </a:lnTo>
                <a:lnTo>
                  <a:pt x="6981049" y="1104846"/>
                </a:lnTo>
                <a:lnTo>
                  <a:pt x="7044108" y="1107939"/>
                </a:lnTo>
                <a:lnTo>
                  <a:pt x="7106735" y="1111161"/>
                </a:lnTo>
                <a:lnTo>
                  <a:pt x="7168922" y="1114506"/>
                </a:lnTo>
                <a:lnTo>
                  <a:pt x="7230662" y="1117971"/>
                </a:lnTo>
                <a:lnTo>
                  <a:pt x="7291947" y="1121549"/>
                </a:lnTo>
                <a:lnTo>
                  <a:pt x="7352768" y="1125236"/>
                </a:lnTo>
                <a:lnTo>
                  <a:pt x="7413118" y="1129027"/>
                </a:lnTo>
                <a:lnTo>
                  <a:pt x="7472988" y="1132917"/>
                </a:lnTo>
                <a:lnTo>
                  <a:pt x="7532372" y="1136902"/>
                </a:lnTo>
                <a:lnTo>
                  <a:pt x="7591260" y="1140976"/>
                </a:lnTo>
                <a:lnTo>
                  <a:pt x="7649646" y="1145134"/>
                </a:lnTo>
                <a:lnTo>
                  <a:pt x="7707521" y="1149373"/>
                </a:lnTo>
                <a:lnTo>
                  <a:pt x="7764878" y="1153686"/>
                </a:lnTo>
                <a:lnTo>
                  <a:pt x="7821707" y="1158069"/>
                </a:lnTo>
                <a:lnTo>
                  <a:pt x="7878002" y="1162517"/>
                </a:lnTo>
                <a:lnTo>
                  <a:pt x="7933755" y="1167025"/>
                </a:lnTo>
                <a:lnTo>
                  <a:pt x="7988957" y="1171589"/>
                </a:lnTo>
                <a:lnTo>
                  <a:pt x="8043602" y="1176203"/>
                </a:lnTo>
                <a:lnTo>
                  <a:pt x="8097680" y="1180863"/>
                </a:lnTo>
                <a:lnTo>
                  <a:pt x="8151184" y="1185563"/>
                </a:lnTo>
                <a:lnTo>
                  <a:pt x="8204106" y="1190299"/>
                </a:lnTo>
                <a:lnTo>
                  <a:pt x="8256438" y="1195066"/>
                </a:lnTo>
                <a:lnTo>
                  <a:pt x="8308172" y="1199859"/>
                </a:lnTo>
                <a:lnTo>
                  <a:pt x="8359301" y="1204673"/>
                </a:lnTo>
                <a:lnTo>
                  <a:pt x="8409816" y="1209503"/>
                </a:lnTo>
                <a:lnTo>
                  <a:pt x="8459709" y="1214345"/>
                </a:lnTo>
                <a:lnTo>
                  <a:pt x="8508974" y="1219193"/>
                </a:lnTo>
                <a:lnTo>
                  <a:pt x="8557600" y="1224043"/>
                </a:lnTo>
                <a:lnTo>
                  <a:pt x="8605582" y="1228890"/>
                </a:lnTo>
                <a:lnTo>
                  <a:pt x="8652911" y="1233728"/>
                </a:lnTo>
                <a:lnTo>
                  <a:pt x="8699578" y="1238554"/>
                </a:lnTo>
                <a:lnTo>
                  <a:pt x="8745576" y="1243361"/>
                </a:lnTo>
                <a:lnTo>
                  <a:pt x="8790898" y="1248146"/>
                </a:lnTo>
                <a:lnTo>
                  <a:pt x="8835535" y="1252903"/>
                </a:lnTo>
                <a:lnTo>
                  <a:pt x="8879479" y="1257628"/>
                </a:lnTo>
                <a:lnTo>
                  <a:pt x="8922723" y="1262315"/>
                </a:lnTo>
                <a:lnTo>
                  <a:pt x="8965258" y="1266960"/>
                </a:lnTo>
                <a:lnTo>
                  <a:pt x="9007077" y="1271558"/>
                </a:lnTo>
                <a:lnTo>
                  <a:pt x="9048172" y="1276104"/>
                </a:lnTo>
                <a:lnTo>
                  <a:pt x="9088534" y="1280593"/>
                </a:lnTo>
                <a:lnTo>
                  <a:pt x="9128156" y="1285020"/>
                </a:lnTo>
                <a:lnTo>
                  <a:pt x="9167030" y="1289381"/>
                </a:lnTo>
                <a:lnTo>
                  <a:pt x="9205148" y="1293669"/>
                </a:lnTo>
                <a:lnTo>
                  <a:pt x="9279085" y="1302013"/>
                </a:lnTo>
                <a:lnTo>
                  <a:pt x="9314888" y="1306058"/>
                </a:lnTo>
                <a:lnTo>
                  <a:pt x="9349904" y="1310012"/>
                </a:lnTo>
                <a:lnTo>
                  <a:pt x="9417541" y="1317627"/>
                </a:lnTo>
                <a:lnTo>
                  <a:pt x="9481932" y="1324820"/>
                </a:lnTo>
                <a:lnTo>
                  <a:pt x="9543015" y="1331550"/>
                </a:lnTo>
                <a:lnTo>
                  <a:pt x="9600727" y="1337780"/>
                </a:lnTo>
                <a:lnTo>
                  <a:pt x="9655003" y="1343470"/>
                </a:lnTo>
                <a:lnTo>
                  <a:pt x="9705782" y="1348581"/>
                </a:lnTo>
                <a:lnTo>
                  <a:pt x="9752999" y="1353073"/>
                </a:lnTo>
                <a:lnTo>
                  <a:pt x="9775252" y="1355076"/>
                </a:lnTo>
                <a:lnTo>
                  <a:pt x="9695911" y="1350686"/>
                </a:lnTo>
                <a:lnTo>
                  <a:pt x="9742610" y="1354789"/>
                </a:lnTo>
                <a:lnTo>
                  <a:pt x="9789544" y="1358894"/>
                </a:lnTo>
                <a:lnTo>
                  <a:pt x="9836709" y="1362998"/>
                </a:lnTo>
                <a:lnTo>
                  <a:pt x="9884100" y="1367098"/>
                </a:lnTo>
                <a:lnTo>
                  <a:pt x="9931712" y="1371190"/>
                </a:lnTo>
                <a:lnTo>
                  <a:pt x="9979539" y="1375271"/>
                </a:lnTo>
                <a:lnTo>
                  <a:pt x="10027578" y="1379338"/>
                </a:lnTo>
                <a:lnTo>
                  <a:pt x="10075822" y="1383388"/>
                </a:lnTo>
                <a:lnTo>
                  <a:pt x="10124267" y="1387416"/>
                </a:lnTo>
                <a:lnTo>
                  <a:pt x="10172908" y="1391420"/>
                </a:lnTo>
                <a:lnTo>
                  <a:pt x="10221741" y="1395396"/>
                </a:lnTo>
                <a:lnTo>
                  <a:pt x="10270759" y="1399340"/>
                </a:lnTo>
                <a:lnTo>
                  <a:pt x="10319959" y="1403251"/>
                </a:lnTo>
                <a:lnTo>
                  <a:pt x="10369334" y="1407124"/>
                </a:lnTo>
                <a:lnTo>
                  <a:pt x="10418881" y="1410955"/>
                </a:lnTo>
                <a:lnTo>
                  <a:pt x="10468595" y="1414742"/>
                </a:lnTo>
                <a:lnTo>
                  <a:pt x="10518469" y="1418481"/>
                </a:lnTo>
                <a:lnTo>
                  <a:pt x="10568500" y="1422169"/>
                </a:lnTo>
                <a:lnTo>
                  <a:pt x="10618682" y="1425802"/>
                </a:lnTo>
                <a:lnTo>
                  <a:pt x="10669011" y="1429377"/>
                </a:lnTo>
                <a:lnTo>
                  <a:pt x="10719482" y="1432891"/>
                </a:lnTo>
                <a:lnTo>
                  <a:pt x="10770088" y="1436340"/>
                </a:lnTo>
                <a:lnTo>
                  <a:pt x="10820827" y="1439721"/>
                </a:lnTo>
                <a:lnTo>
                  <a:pt x="10871692" y="1443031"/>
                </a:lnTo>
                <a:lnTo>
                  <a:pt x="10922679" y="1446266"/>
                </a:lnTo>
                <a:lnTo>
                  <a:pt x="10973782" y="1449423"/>
                </a:lnTo>
                <a:lnTo>
                  <a:pt x="11024997" y="1452499"/>
                </a:lnTo>
                <a:lnTo>
                  <a:pt x="11076319" y="1455489"/>
                </a:lnTo>
                <a:lnTo>
                  <a:pt x="11127743" y="1458392"/>
                </a:lnTo>
                <a:lnTo>
                  <a:pt x="11179264" y="1461203"/>
                </a:lnTo>
                <a:lnTo>
                  <a:pt x="11230877" y="1463919"/>
                </a:lnTo>
                <a:lnTo>
                  <a:pt x="11282577" y="1466537"/>
                </a:lnTo>
                <a:lnTo>
                  <a:pt x="11334358" y="1469053"/>
                </a:lnTo>
                <a:lnTo>
                  <a:pt x="11386217" y="1471465"/>
                </a:lnTo>
                <a:lnTo>
                  <a:pt x="11438148" y="1473768"/>
                </a:lnTo>
                <a:lnTo>
                  <a:pt x="11490146" y="1475959"/>
                </a:lnTo>
                <a:lnTo>
                  <a:pt x="11542207" y="1478036"/>
                </a:lnTo>
                <a:lnTo>
                  <a:pt x="11594324" y="1479994"/>
                </a:lnTo>
                <a:lnTo>
                  <a:pt x="11646494" y="1481830"/>
                </a:lnTo>
                <a:lnTo>
                  <a:pt x="11698711" y="1483542"/>
                </a:lnTo>
                <a:lnTo>
                  <a:pt x="11750971" y="1485125"/>
                </a:lnTo>
                <a:lnTo>
                  <a:pt x="11803268" y="1486576"/>
                </a:lnTo>
                <a:lnTo>
                  <a:pt x="11855598" y="1487892"/>
                </a:lnTo>
                <a:lnTo>
                  <a:pt x="11907955" y="1489069"/>
                </a:lnTo>
                <a:lnTo>
                  <a:pt x="11960334" y="1490105"/>
                </a:lnTo>
                <a:lnTo>
                  <a:pt x="12012731" y="1490995"/>
                </a:lnTo>
                <a:lnTo>
                  <a:pt x="12065141" y="1491737"/>
                </a:lnTo>
                <a:lnTo>
                  <a:pt x="12117559" y="1492327"/>
                </a:lnTo>
                <a:lnTo>
                  <a:pt x="12169979" y="1492762"/>
                </a:lnTo>
                <a:lnTo>
                  <a:pt x="12222397" y="1493038"/>
                </a:lnTo>
                <a:lnTo>
                  <a:pt x="12274808" y="1493152"/>
                </a:lnTo>
                <a:lnTo>
                  <a:pt x="12327207" y="1493100"/>
                </a:lnTo>
                <a:lnTo>
                  <a:pt x="12379589" y="1492880"/>
                </a:lnTo>
                <a:lnTo>
                  <a:pt x="12431948" y="1492488"/>
                </a:lnTo>
                <a:lnTo>
                  <a:pt x="12484281" y="1491921"/>
                </a:lnTo>
                <a:lnTo>
                  <a:pt x="12536582" y="1491175"/>
                </a:lnTo>
                <a:lnTo>
                  <a:pt x="12588846" y="1490246"/>
                </a:lnTo>
                <a:lnTo>
                  <a:pt x="12641068" y="1489132"/>
                </a:lnTo>
                <a:lnTo>
                  <a:pt x="12693243" y="1487830"/>
                </a:lnTo>
                <a:lnTo>
                  <a:pt x="12745366" y="1486335"/>
                </a:lnTo>
                <a:lnTo>
                  <a:pt x="12797433" y="1484645"/>
                </a:lnTo>
                <a:lnTo>
                  <a:pt x="12849438" y="1482755"/>
                </a:lnTo>
                <a:lnTo>
                  <a:pt x="12901376" y="1480664"/>
                </a:lnTo>
                <a:lnTo>
                  <a:pt x="12953243" y="1478367"/>
                </a:lnTo>
                <a:lnTo>
                  <a:pt x="13005033" y="1475861"/>
                </a:lnTo>
                <a:lnTo>
                  <a:pt x="13056742" y="1473142"/>
                </a:lnTo>
                <a:lnTo>
                  <a:pt x="13108364" y="1470208"/>
                </a:lnTo>
                <a:lnTo>
                  <a:pt x="13159895" y="1467055"/>
                </a:lnTo>
                <a:lnTo>
                  <a:pt x="13211329" y="1463680"/>
                </a:lnTo>
                <a:lnTo>
                  <a:pt x="13262662" y="1460078"/>
                </a:lnTo>
                <a:lnTo>
                  <a:pt x="13313889" y="1456248"/>
                </a:lnTo>
                <a:lnTo>
                  <a:pt x="13365004" y="1452185"/>
                </a:lnTo>
                <a:lnTo>
                  <a:pt x="13416004" y="1447887"/>
                </a:lnTo>
                <a:lnTo>
                  <a:pt x="13466882" y="1443349"/>
                </a:lnTo>
                <a:lnTo>
                  <a:pt x="13517634" y="1438569"/>
                </a:lnTo>
                <a:lnTo>
                  <a:pt x="13568255" y="1433542"/>
                </a:lnTo>
                <a:lnTo>
                  <a:pt x="13618740" y="1428267"/>
                </a:lnTo>
                <a:lnTo>
                  <a:pt x="13669084" y="1422739"/>
                </a:lnTo>
                <a:lnTo>
                  <a:pt x="13719282" y="1416955"/>
                </a:lnTo>
                <a:lnTo>
                  <a:pt x="13769329" y="1410912"/>
                </a:lnTo>
                <a:lnTo>
                  <a:pt x="13819221" y="1404606"/>
                </a:lnTo>
                <a:lnTo>
                  <a:pt x="13868951" y="1398034"/>
                </a:lnTo>
                <a:lnTo>
                  <a:pt x="13918516" y="1391193"/>
                </a:lnTo>
                <a:lnTo>
                  <a:pt x="13967910" y="1384079"/>
                </a:lnTo>
                <a:lnTo>
                  <a:pt x="14017128" y="1376689"/>
                </a:lnTo>
                <a:lnTo>
                  <a:pt x="14066166" y="1369020"/>
                </a:lnTo>
                <a:lnTo>
                  <a:pt x="14115019" y="1361067"/>
                </a:lnTo>
                <a:lnTo>
                  <a:pt x="14163680" y="1352829"/>
                </a:lnTo>
                <a:lnTo>
                  <a:pt x="14212146" y="1344301"/>
                </a:lnTo>
                <a:lnTo>
                  <a:pt x="14260412" y="1335480"/>
                </a:lnTo>
                <a:lnTo>
                  <a:pt x="14308473" y="1326363"/>
                </a:lnTo>
                <a:lnTo>
                  <a:pt x="14356322" y="1316947"/>
                </a:lnTo>
                <a:lnTo>
                  <a:pt x="14403957" y="1307227"/>
                </a:lnTo>
                <a:lnTo>
                  <a:pt x="14451372" y="1297202"/>
                </a:lnTo>
                <a:lnTo>
                  <a:pt x="14498561" y="1286866"/>
                </a:lnTo>
                <a:lnTo>
                  <a:pt x="14545520" y="1276218"/>
                </a:lnTo>
                <a:lnTo>
                  <a:pt x="14592244" y="1265253"/>
                </a:lnTo>
                <a:lnTo>
                  <a:pt x="14638727" y="1253969"/>
                </a:lnTo>
                <a:lnTo>
                  <a:pt x="14684966" y="1242361"/>
                </a:lnTo>
                <a:lnTo>
                  <a:pt x="14730955" y="1230428"/>
                </a:lnTo>
                <a:lnTo>
                  <a:pt x="14776689" y="1218164"/>
                </a:lnTo>
                <a:lnTo>
                  <a:pt x="14813965" y="1207868"/>
                </a:lnTo>
                <a:lnTo>
                  <a:pt x="14851100" y="1197338"/>
                </a:lnTo>
                <a:lnTo>
                  <a:pt x="14888093" y="1186572"/>
                </a:lnTo>
                <a:lnTo>
                  <a:pt x="14924941" y="1175569"/>
                </a:lnTo>
                <a:lnTo>
                  <a:pt x="14961644" y="1164327"/>
                </a:lnTo>
                <a:lnTo>
                  <a:pt x="14998198" y="1152844"/>
                </a:lnTo>
                <a:lnTo>
                  <a:pt x="15034603" y="1141120"/>
                </a:lnTo>
                <a:lnTo>
                  <a:pt x="15070857" y="1129152"/>
                </a:lnTo>
                <a:lnTo>
                  <a:pt x="15106957" y="1116939"/>
                </a:lnTo>
                <a:lnTo>
                  <a:pt x="15178693" y="1091773"/>
                </a:lnTo>
                <a:lnTo>
                  <a:pt x="15249795" y="1065610"/>
                </a:lnTo>
                <a:lnTo>
                  <a:pt x="15320251" y="1038438"/>
                </a:lnTo>
                <a:lnTo>
                  <a:pt x="15390045" y="1010245"/>
                </a:lnTo>
                <a:lnTo>
                  <a:pt x="15459166" y="981019"/>
                </a:lnTo>
                <a:lnTo>
                  <a:pt x="15527597" y="950749"/>
                </a:lnTo>
                <a:lnTo>
                  <a:pt x="15595327" y="919422"/>
                </a:lnTo>
                <a:lnTo>
                  <a:pt x="15662340" y="887027"/>
                </a:lnTo>
                <a:lnTo>
                  <a:pt x="15728623" y="853552"/>
                </a:lnTo>
                <a:lnTo>
                  <a:pt x="15794161" y="818985"/>
                </a:lnTo>
                <a:lnTo>
                  <a:pt x="15858942" y="783315"/>
                </a:lnTo>
                <a:lnTo>
                  <a:pt x="15922951" y="746529"/>
                </a:lnTo>
                <a:lnTo>
                  <a:pt x="15986174" y="708615"/>
                </a:lnTo>
                <a:lnTo>
                  <a:pt x="16048598" y="669562"/>
                </a:lnTo>
                <a:lnTo>
                  <a:pt x="16110207" y="629357"/>
                </a:lnTo>
                <a:lnTo>
                  <a:pt x="16170990" y="587990"/>
                </a:lnTo>
                <a:lnTo>
                  <a:pt x="16230931" y="545448"/>
                </a:lnTo>
                <a:lnTo>
                  <a:pt x="16290016" y="501719"/>
                </a:lnTo>
                <a:lnTo>
                  <a:pt x="16348233" y="456791"/>
                </a:lnTo>
                <a:lnTo>
                  <a:pt x="16405566" y="410653"/>
                </a:lnTo>
                <a:lnTo>
                  <a:pt x="16462003" y="363293"/>
                </a:lnTo>
                <a:lnTo>
                  <a:pt x="16517528" y="314699"/>
                </a:lnTo>
                <a:lnTo>
                  <a:pt x="16572129" y="264858"/>
                </a:lnTo>
                <a:lnTo>
                  <a:pt x="16625791" y="213760"/>
                </a:lnTo>
                <a:lnTo>
                  <a:pt x="16678501" y="161392"/>
                </a:lnTo>
                <a:lnTo>
                  <a:pt x="16730244" y="107743"/>
                </a:lnTo>
                <a:lnTo>
                  <a:pt x="16781006" y="52800"/>
                </a:lnTo>
                <a:lnTo>
                  <a:pt x="16806016" y="24840"/>
                </a:lnTo>
                <a:lnTo>
                  <a:pt x="16827758" y="0"/>
                </a:lnTo>
              </a:path>
            </a:pathLst>
          </a:custGeom>
          <a:ln w="31412">
            <a:solidFill>
              <a:srgbClr val="E2CE84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3810778" y="431631"/>
            <a:ext cx="12482542" cy="212661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7900" b="0" i="0">
                <a:solidFill>
                  <a:srgbClr val="534741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1005205" y="2601150"/>
            <a:ext cx="18093690" cy="746417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6835394" y="10517696"/>
            <a:ext cx="6433312" cy="56546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1005205" y="10517696"/>
            <a:ext cx="4623943" cy="56546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2/6/2023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14474953" y="10517696"/>
            <a:ext cx="4623943" cy="56546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image" Target="../media/image6.tif"/><Relationship Id="rId7" Type="http://schemas.openxmlformats.org/officeDocument/2006/relationships/image" Target="../media/image10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10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diagramLayout" Target="../diagrams/layout2.xml"/><Relationship Id="rId7" Type="http://schemas.openxmlformats.org/officeDocument/2006/relationships/image" Target="../media/image12.png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11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diagramLayout" Target="../diagrams/layout3.xml"/><Relationship Id="rId7" Type="http://schemas.openxmlformats.org/officeDocument/2006/relationships/image" Target="../media/image12.png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6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12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diagramLayout" Target="../diagrams/layout4.xml"/><Relationship Id="rId7" Type="http://schemas.openxmlformats.org/officeDocument/2006/relationships/image" Target="../media/image12.png"/><Relationship Id="rId2" Type="http://schemas.openxmlformats.org/officeDocument/2006/relationships/diagramData" Target="../diagrams/data4.xml"/><Relationship Id="rId1" Type="http://schemas.openxmlformats.org/officeDocument/2006/relationships/slideLayout" Target="../slideLayouts/slideLayout6.xml"/><Relationship Id="rId6" Type="http://schemas.microsoft.com/office/2007/relationships/diagramDrawing" Target="../diagrams/drawing4.xml"/><Relationship Id="rId5" Type="http://schemas.openxmlformats.org/officeDocument/2006/relationships/diagramColors" Target="../diagrams/colors4.xml"/><Relationship Id="rId4" Type="http://schemas.openxmlformats.org/officeDocument/2006/relationships/diagramQuickStyle" Target="../diagrams/quickStyle4.xml"/></Relationships>
</file>

<file path=ppt/slides/_rels/slide13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4" Type="http://schemas.microsoft.com/office/2007/relationships/hdphoto" Target="../media/hdphoto1.wdp"/></Relationships>
</file>

<file path=ppt/slides/_rels/slide4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3" Type="http://schemas.microsoft.com/office/2007/relationships/hdphoto" Target="../media/hdphoto1.wdp"/><Relationship Id="rId7" Type="http://schemas.openxmlformats.org/officeDocument/2006/relationships/diagramColors" Target="../diagrams/colors1.xml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Relationship Id="rId6" Type="http://schemas.openxmlformats.org/officeDocument/2006/relationships/diagramQuickStyle" Target="../diagrams/quickStyle1.xml"/><Relationship Id="rId5" Type="http://schemas.openxmlformats.org/officeDocument/2006/relationships/diagramLayout" Target="../diagrams/layout1.xml"/><Relationship Id="rId4" Type="http://schemas.openxmlformats.org/officeDocument/2006/relationships/diagramData" Target="../diagrams/data1.xml"/></Relationships>
</file>

<file path=ppt/slides/_rels/slide8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822" y="-92075"/>
            <a:ext cx="20112922" cy="11309350"/>
          </a:xfrm>
          <a:prstGeom prst="rect">
            <a:avLst/>
          </a:prstGeom>
          <a:noFill/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26556" y="772877"/>
            <a:ext cx="5492111" cy="1447800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749754" y="920036"/>
            <a:ext cx="1720247" cy="1720247"/>
          </a:xfrm>
          <a:prstGeom prst="rect">
            <a:avLst/>
          </a:prstGeom>
        </p:spPr>
      </p:pic>
      <p:sp>
        <p:nvSpPr>
          <p:cNvPr id="8" name="Объект 7">
            <a:extLst>
              <a:ext uri="{FF2B5EF4-FFF2-40B4-BE49-F238E27FC236}">
                <a16:creationId xmlns:a16="http://schemas.microsoft.com/office/drawing/2014/main" id="{DBA17C76-0109-4ABA-86E2-AE84F323252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826734" y="4552185"/>
            <a:ext cx="11983866" cy="2016890"/>
          </a:xfrm>
        </p:spPr>
        <p:txBody>
          <a:bodyPr/>
          <a:lstStyle/>
          <a:p>
            <a:pPr algn="ctr"/>
            <a:r>
              <a:rPr lang="ru-RU" sz="5400" b="1" dirty="0">
                <a:solidFill>
                  <a:schemeClr val="accent1">
                    <a:lumMod val="75000"/>
                  </a:schemeClr>
                </a:solidFill>
                <a:latin typeface="Times New Roman"/>
                <a:cs typeface="Times New Roman"/>
              </a:rPr>
              <a:t>ФУНКЦИОНАЛЬНАЯ ГРАМОТНОСТЬ ДОШКОЛЬНИКА</a:t>
            </a:r>
            <a:endParaRPr lang="ru-RU" sz="5400" b="1" dirty="0">
              <a:solidFill>
                <a:schemeClr val="accent1">
                  <a:lumMod val="75000"/>
                </a:schemeClr>
              </a:solidFill>
            </a:endParaRPr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867EEA72-E07C-47D1-B116-606C4242088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4547797" y="858062"/>
            <a:ext cx="1827172" cy="1765925"/>
          </a:xfrm>
          <a:prstGeom prst="rect">
            <a:avLst/>
          </a:prstGeom>
        </p:spPr>
      </p:pic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D00BE3AF-907C-4E2B-A57C-C65981B13E58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313510" y="881536"/>
            <a:ext cx="1588020" cy="1636435"/>
          </a:xfrm>
          <a:prstGeom prst="rect">
            <a:avLst/>
          </a:prstGeom>
        </p:spPr>
      </p:pic>
      <p:pic>
        <p:nvPicPr>
          <p:cNvPr id="13" name="Picture 2" descr="https://static.tildacdn.com/tild3466-6530-4030-a439-323832623631/ROSSIYSKAYa-AKADEMIY.png">
            <a:extLst>
              <a:ext uri="{FF2B5EF4-FFF2-40B4-BE49-F238E27FC236}">
                <a16:creationId xmlns:a16="http://schemas.microsoft.com/office/drawing/2014/main" id="{CC0A5631-8162-463F-A2C0-213E260F22D8}"/>
              </a:ext>
            </a:extLst>
          </p:cNvPr>
          <p:cNvPicPr/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053050" y="880901"/>
            <a:ext cx="1514058" cy="1581289"/>
          </a:xfrm>
          <a:prstGeom prst="rect">
            <a:avLst/>
          </a:prstGeom>
          <a:noFill/>
        </p:spPr>
      </p:pic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id="{ACFAECE6-9148-4059-A73E-3712F88BCA1F}"/>
              </a:ext>
            </a:extLst>
          </p:cNvPr>
          <p:cNvSpPr/>
          <p:nvPr/>
        </p:nvSpPr>
        <p:spPr>
          <a:xfrm>
            <a:off x="1278092" y="9827207"/>
            <a:ext cx="17547916" cy="9669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540" algn="ctr">
              <a:lnSpc>
                <a:spcPct val="100000"/>
              </a:lnSpc>
              <a:spcBef>
                <a:spcPts val="100"/>
              </a:spcBef>
            </a:pPr>
            <a:r>
              <a:rPr lang="ru-RU" sz="2800" b="1" i="1" spc="-5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Ондар</a:t>
            </a:r>
            <a:r>
              <a:rPr lang="ru-RU" sz="2800" b="1" i="1" spc="-5" dirty="0">
                <a:latin typeface="Times New Roman" panose="02020603050405020304" pitchFamily="18" charset="0"/>
                <a:cs typeface="Times New Roman" panose="02020603050405020304" pitchFamily="18" charset="0"/>
              </a:rPr>
              <a:t> Чечена </a:t>
            </a:r>
            <a:r>
              <a:rPr lang="ru-RU" sz="2800" b="1" i="1" spc="-5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Момужаевна</a:t>
            </a:r>
            <a:r>
              <a:rPr lang="ru-RU" sz="2800" b="1" i="1" spc="-5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доцент кафедры педагогики и методики дошкольного</a:t>
            </a:r>
          </a:p>
          <a:p>
            <a:pPr marL="2540" algn="ctr">
              <a:lnSpc>
                <a:spcPct val="100000"/>
              </a:lnSpc>
              <a:spcBef>
                <a:spcPts val="100"/>
              </a:spcBef>
            </a:pPr>
            <a:r>
              <a:rPr lang="ru-RU" sz="2800" b="1" i="1" spc="-5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и начального образования </a:t>
            </a:r>
            <a:r>
              <a:rPr lang="ru-RU" sz="2800" b="1" i="1" spc="-5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ТувГУ</a:t>
            </a:r>
            <a:endParaRPr lang="ru-RU" sz="2800" b="1" i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2109828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Схема 3">
            <a:extLst>
              <a:ext uri="{FF2B5EF4-FFF2-40B4-BE49-F238E27FC236}">
                <a16:creationId xmlns:a16="http://schemas.microsoft.com/office/drawing/2014/main" id="{74660666-CA0B-4BE9-826E-62D6379F24E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948414270"/>
              </p:ext>
            </p:extLst>
          </p:nvPr>
        </p:nvGraphicFramePr>
        <p:xfrm>
          <a:off x="1365250" y="3063875"/>
          <a:ext cx="17602200" cy="74676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E44A1776-68B3-4C07-AB34-DE15D5B40BCB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harpenSoften amount="50000"/>
                    </a14:imgEffect>
                    <a14:imgEffect>
                      <a14:saturation sat="400000"/>
                    </a14:imgEffect>
                    <a14:imgEffect>
                      <a14:brightnessContrast bright="-4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r="68876"/>
          <a:stretch/>
        </p:blipFill>
        <p:spPr>
          <a:xfrm>
            <a:off x="17550728" y="244474"/>
            <a:ext cx="2254922" cy="18599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413499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854C662-9632-41A0-A6EA-F9D82E5C3F4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3850" y="1088766"/>
            <a:ext cx="11572717" cy="2031325"/>
          </a:xfrm>
        </p:spPr>
        <p:txBody>
          <a:bodyPr/>
          <a:lstStyle/>
          <a:p>
            <a:pPr algn="ctr"/>
            <a:r>
              <a:rPr lang="ru-RU" sz="4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Функциональная грамотность: преемственность задач системы образования</a:t>
            </a:r>
          </a:p>
        </p:txBody>
      </p:sp>
      <p:graphicFrame>
        <p:nvGraphicFramePr>
          <p:cNvPr id="5" name="Схема 4">
            <a:extLst>
              <a:ext uri="{FF2B5EF4-FFF2-40B4-BE49-F238E27FC236}">
                <a16:creationId xmlns:a16="http://schemas.microsoft.com/office/drawing/2014/main" id="{719DD6CC-29DD-4AA4-9C76-0873AB13175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358931973"/>
              </p:ext>
            </p:extLst>
          </p:nvPr>
        </p:nvGraphicFramePr>
        <p:xfrm>
          <a:off x="1130856" y="3902075"/>
          <a:ext cx="18344991" cy="665297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3E9D4CA8-E3D9-4B9A-A0D4-DF949058DCAD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harpenSoften amount="50000"/>
                    </a14:imgEffect>
                    <a14:imgEffect>
                      <a14:saturation sat="400000"/>
                    </a14:imgEffect>
                    <a14:imgEffect>
                      <a14:brightnessContrast bright="-4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r="68876"/>
          <a:stretch/>
        </p:blipFill>
        <p:spPr>
          <a:xfrm>
            <a:off x="17550728" y="244474"/>
            <a:ext cx="2254922" cy="18599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9459966"/>
      </p:ext>
    </p:extLst>
  </p:cSld>
  <p:clrMapOvr>
    <a:masterClrMapping/>
  </p:clrMapOvr>
  <p:transition spd="med"/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12AD751C-EE6F-45ED-91DE-197E0FDD62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51450" y="625475"/>
            <a:ext cx="11851640" cy="2031325"/>
          </a:xfrm>
        </p:spPr>
        <p:txBody>
          <a:bodyPr/>
          <a:lstStyle/>
          <a:p>
            <a:pPr algn="ctr"/>
            <a:r>
              <a:rPr lang="ru-RU" sz="4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Формирование предпосылок функциональной грамотности ребенка в условиях реализации ФГОС ДО </a:t>
            </a:r>
          </a:p>
        </p:txBody>
      </p:sp>
      <p:graphicFrame>
        <p:nvGraphicFramePr>
          <p:cNvPr id="4" name="Схема 3">
            <a:extLst>
              <a:ext uri="{FF2B5EF4-FFF2-40B4-BE49-F238E27FC236}">
                <a16:creationId xmlns:a16="http://schemas.microsoft.com/office/drawing/2014/main" id="{169231BE-4226-414E-A439-B0A5E91F127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86214728"/>
              </p:ext>
            </p:extLst>
          </p:nvPr>
        </p:nvGraphicFramePr>
        <p:xfrm>
          <a:off x="908049" y="2911475"/>
          <a:ext cx="18763245" cy="802279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FE01F266-DC39-4C3E-B92A-89A23ED2A555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harpenSoften amount="50000"/>
                    </a14:imgEffect>
                    <a14:imgEffect>
                      <a14:saturation sat="400000"/>
                    </a14:imgEffect>
                    <a14:imgEffect>
                      <a14:brightnessContrast bright="-4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r="68876"/>
          <a:stretch/>
        </p:blipFill>
        <p:spPr>
          <a:xfrm>
            <a:off x="17550728" y="244474"/>
            <a:ext cx="2254922" cy="18599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547006"/>
      </p:ext>
    </p:extLst>
  </p:cSld>
  <p:clrMapOvr>
    <a:masterClrMapping/>
  </p:clrMapOvr>
  <p:transition spd="med"/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Таблица 8">
            <a:extLst>
              <a:ext uri="{FF2B5EF4-FFF2-40B4-BE49-F238E27FC236}">
                <a16:creationId xmlns:a16="http://schemas.microsoft.com/office/drawing/2014/main" id="{FFC1B585-188E-43BA-8F89-A80B4A5765A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28625201"/>
              </p:ext>
            </p:extLst>
          </p:nvPr>
        </p:nvGraphicFramePr>
        <p:xfrm>
          <a:off x="0" y="2987675"/>
          <a:ext cx="20104100" cy="832167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811149">
                  <a:extLst>
                    <a:ext uri="{9D8B030D-6E8A-4147-A177-3AD203B41FA5}">
                      <a16:colId xmlns:a16="http://schemas.microsoft.com/office/drawing/2014/main" val="2665869446"/>
                    </a:ext>
                  </a:extLst>
                </a:gridCol>
                <a:gridCol w="12292951">
                  <a:extLst>
                    <a:ext uri="{9D8B030D-6E8A-4147-A177-3AD203B41FA5}">
                      <a16:colId xmlns:a16="http://schemas.microsoft.com/office/drawing/2014/main" val="3948969655"/>
                    </a:ext>
                  </a:extLst>
                </a:gridCol>
              </a:tblGrid>
              <a:tr h="1559297">
                <a:tc>
                  <a:txBody>
                    <a:bodyPr/>
                    <a:lstStyle/>
                    <a:p>
                      <a:pPr algn="ctr"/>
                      <a:r>
                        <a:rPr lang="ru-RU" sz="46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атематическая грамотность</a:t>
                      </a:r>
                    </a:p>
                  </a:txBody>
                  <a:tcPr marL="150781" marR="150781" marT="75390" marB="753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46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едпосылки математической грамотности дошкольников</a:t>
                      </a:r>
                    </a:p>
                  </a:txBody>
                  <a:tcPr marL="150781" marR="150781" marT="75390" marB="75390"/>
                </a:tc>
                <a:extLst>
                  <a:ext uri="{0D108BD9-81ED-4DB2-BD59-A6C34878D82A}">
                    <a16:rowId xmlns:a16="http://schemas.microsoft.com/office/drawing/2014/main" val="3392426807"/>
                  </a:ext>
                </a:extLst>
              </a:tr>
              <a:tr h="6762378">
                <a:tc>
                  <a:txBody>
                    <a:bodyPr/>
                    <a:lstStyle/>
                    <a:p>
                      <a:r>
                        <a:rPr lang="ru-RU" sz="4000" dirty="0">
                          <a:solidFill>
                            <a:schemeClr val="dk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▪ </a:t>
                      </a:r>
                      <a:r>
                        <a:rPr lang="ru-RU" sz="3600" dirty="0">
                          <a:solidFill>
                            <a:schemeClr val="dk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способность человека определять и понимать роль математики в мире, в котором он живет, высказывать хорошо обоснованные математические суждения и использовать математику так, чтобы удовлетворять в настоящем и будущем потребности, присущие созидательному, заинтересованному и мыслящему гражданину</a:t>
                      </a:r>
                      <a:endParaRPr lang="ru-RU" sz="3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50781" marR="150781" marT="75390" marB="75390"/>
                </a:tc>
                <a:tc>
                  <a:txBody>
                    <a:bodyPr/>
                    <a:lstStyle/>
                    <a:p>
                      <a:r>
                        <a:rPr lang="ru-RU" sz="3600" dirty="0">
                          <a:solidFill>
                            <a:schemeClr val="dk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это способность ребенка: </a:t>
                      </a:r>
                    </a:p>
                    <a:p>
                      <a:r>
                        <a:rPr lang="ru-RU" sz="3600" dirty="0">
                          <a:solidFill>
                            <a:schemeClr val="dk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• проявлять инициативу и самостоятельность в поиске способов решения проблемных ситуаций, требующих обращения к математике; </a:t>
                      </a:r>
                    </a:p>
                    <a:p>
                      <a:r>
                        <a:rPr lang="ru-RU" sz="3600" dirty="0">
                          <a:solidFill>
                            <a:schemeClr val="dk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• проводить простейшие математические рассуждения; </a:t>
                      </a:r>
                    </a:p>
                    <a:p>
                      <a:r>
                        <a:rPr lang="ru-RU" sz="3600" dirty="0">
                          <a:solidFill>
                            <a:schemeClr val="dk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• применять элементарные математические представления и способы познания математических свойств/ отношений для решения жизненных задач и личностно-значимых проблем;</a:t>
                      </a:r>
                    </a:p>
                    <a:p>
                      <a:r>
                        <a:rPr lang="ru-RU" sz="3600" dirty="0">
                          <a:solidFill>
                            <a:schemeClr val="dk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• соотносить и интерпретировать результаты своих действий с математическим знаниями и способами, с помощью которых была решена проблема/ задача</a:t>
                      </a:r>
                      <a:endParaRPr lang="ru-RU" sz="3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50781" marR="150781" marT="75390" marB="75390"/>
                </a:tc>
                <a:extLst>
                  <a:ext uri="{0D108BD9-81ED-4DB2-BD59-A6C34878D82A}">
                    <a16:rowId xmlns:a16="http://schemas.microsoft.com/office/drawing/2014/main" val="3037050792"/>
                  </a:ext>
                </a:extLst>
              </a:tr>
            </a:tbl>
          </a:graphicData>
        </a:graphic>
      </p:graphicFrame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06D95D40-A977-4D20-AFD7-DCB15E138BCD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50000"/>
                    </a14:imgEffect>
                    <a14:imgEffect>
                      <a14:saturation sat="400000"/>
                    </a14:imgEffect>
                    <a14:imgEffect>
                      <a14:brightnessContrast bright="-4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r="68876"/>
          <a:stretch/>
        </p:blipFill>
        <p:spPr>
          <a:xfrm>
            <a:off x="17550728" y="244474"/>
            <a:ext cx="2254922" cy="18599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1033423"/>
      </p:ext>
    </p:extLst>
  </p:cSld>
  <p:clrMapOvr>
    <a:masterClrMapping/>
  </p:clrMapOvr>
  <p:transition spd="med"/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F8A1AC15-D974-4AF9-AA4A-0AF34B8B8D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46650" y="549275"/>
            <a:ext cx="11734800" cy="1354217"/>
          </a:xfrm>
        </p:spPr>
        <p:txBody>
          <a:bodyPr/>
          <a:lstStyle/>
          <a:p>
            <a:pPr algn="ctr"/>
            <a:r>
              <a:rPr lang="ru-RU" sz="4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Федеральная образовательная программа дошкольного образования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59C1816D-CEBC-4344-9562-4AABBA0D467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255668" y="3140075"/>
            <a:ext cx="17592763" cy="7201972"/>
          </a:xfrm>
        </p:spPr>
        <p:txBody>
          <a:bodyPr/>
          <a:lstStyle/>
          <a:p>
            <a:pPr indent="722313"/>
            <a:r>
              <a:rPr lang="ru-RU" sz="3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15.4. Планируемые результаты на этапе завершения освоения Федеральной программы ( к концу дошкольного возраста):</a:t>
            </a:r>
            <a:r>
              <a:rPr lang="ru-RU" sz="3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</a:p>
          <a:p>
            <a:pPr indent="725128"/>
            <a:r>
              <a:rPr lang="ru-RU" sz="3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ребёнок способен применять в жизненных и игровых ситуациях знания о количестве, форме, величине предметов, пространстве и времени, умения считать, измерять, сравнивать, вычислять и тому подобное; </a:t>
            </a:r>
          </a:p>
          <a:p>
            <a:pPr indent="725128"/>
            <a:r>
              <a:rPr lang="ru-RU" sz="3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ребёнок имеет разнообразные познавательные умения: определяет противоречия, формулирует задачу исследования, использует разные способы и средства проверки предположений – сравнение с эталонами, классификацию, систематизацию, некоторые цифровые средства и другое</a:t>
            </a:r>
            <a:r>
              <a:rPr lang="en-US" sz="3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lang="ru-RU" sz="3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en-US" sz="3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en-US" sz="3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en-US" sz="3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[</a:t>
            </a:r>
            <a:r>
              <a:rPr lang="ru-RU" sz="3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риказ Министерства просвещения Российской Федерации от 25 ноября 2022 года № 1028 «Об утверждении федеральной образовательной программы дошкольного образования</a:t>
            </a:r>
            <a:r>
              <a:rPr lang="en-US" sz="3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]</a:t>
            </a:r>
            <a:r>
              <a:rPr lang="ru-RU" sz="3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C8632BDF-657B-458F-966C-DF8F9E112F33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50000"/>
                    </a14:imgEffect>
                    <a14:imgEffect>
                      <a14:saturation sat="400000"/>
                    </a14:imgEffect>
                    <a14:imgEffect>
                      <a14:brightnessContrast bright="-4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r="68876"/>
          <a:stretch/>
        </p:blipFill>
        <p:spPr>
          <a:xfrm>
            <a:off x="17550728" y="244474"/>
            <a:ext cx="2254922" cy="18599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6345622"/>
      </p:ext>
    </p:extLst>
  </p:cSld>
  <p:clrMapOvr>
    <a:masterClrMapping/>
  </p:clrMapOvr>
  <p:transition spd="med"/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>
            <a:extLst>
              <a:ext uri="{FF2B5EF4-FFF2-40B4-BE49-F238E27FC236}">
                <a16:creationId xmlns:a16="http://schemas.microsoft.com/office/drawing/2014/main" id="{5BD2CCD4-81AF-4A00-80CB-1C7E358B801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365250" y="3140075"/>
            <a:ext cx="17483180" cy="7391399"/>
          </a:xfrm>
        </p:spPr>
        <p:txBody>
          <a:bodyPr/>
          <a:lstStyle/>
          <a:p>
            <a:pPr lvl="0"/>
            <a:r>
              <a:rPr lang="ru-RU" sz="5936" dirty="0">
                <a:latin typeface="Times New Roman" panose="02020603050405020304" pitchFamily="18" charset="0"/>
                <a:cs typeface="Times New Roman" panose="02020603050405020304" pitchFamily="18" charset="0"/>
              </a:rPr>
              <a:t>1. 5+2=?</a:t>
            </a:r>
          </a:p>
          <a:p>
            <a:pPr lvl="0"/>
            <a:endParaRPr lang="ru-RU" sz="5936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lvl="0"/>
            <a:r>
              <a:rPr lang="ru-RU" sz="5936" dirty="0">
                <a:latin typeface="Times New Roman" panose="02020603050405020304" pitchFamily="18" charset="0"/>
                <a:cs typeface="Times New Roman" panose="02020603050405020304" pitchFamily="18" charset="0"/>
              </a:rPr>
              <a:t>2. В корзине 5 яблок и 2 груши. Сколько всего фруктов в корзине?</a:t>
            </a:r>
          </a:p>
          <a:p>
            <a:pPr lvl="0"/>
            <a:endParaRPr lang="ru-RU" sz="5936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lvl="0"/>
            <a:r>
              <a:rPr lang="ru-RU" sz="5936" dirty="0">
                <a:latin typeface="Times New Roman" panose="02020603050405020304" pitchFamily="18" charset="0"/>
                <a:cs typeface="Times New Roman" panose="02020603050405020304" pitchFamily="18" charset="0"/>
              </a:rPr>
              <a:t>3. У меня завтра день рождения. Будет 6 человек. Хватит ли фруктов в корзине, если в ней 5 яблок и 2 груши? Поясни свой ответ.</a:t>
            </a:r>
          </a:p>
          <a:p>
            <a:endParaRPr lang="ru-RU" dirty="0"/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2ED3CA7C-DD4D-4227-A851-75B41963B7FF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50000"/>
                    </a14:imgEffect>
                    <a14:imgEffect>
                      <a14:saturation sat="400000"/>
                    </a14:imgEffect>
                    <a14:imgEffect>
                      <a14:brightnessContrast bright="-4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r="68876"/>
          <a:stretch/>
        </p:blipFill>
        <p:spPr>
          <a:xfrm>
            <a:off x="17550728" y="244474"/>
            <a:ext cx="2254922" cy="18599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4439944"/>
      </p:ext>
    </p:extLst>
  </p:cSld>
  <p:clrMapOvr>
    <a:masterClrMapping/>
  </p:clrMapOvr>
  <p:transition spd="med"/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4BA08B4-9222-432E-B603-E6A7140C93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87245" y="735028"/>
            <a:ext cx="8756882" cy="812082"/>
          </a:xfrm>
        </p:spPr>
        <p:txBody>
          <a:bodyPr/>
          <a:lstStyle/>
          <a:p>
            <a:pPr algn="ctr"/>
            <a:r>
              <a:rPr lang="ru-RU" sz="5277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равнение и рассуждение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1F0E6AE5-7024-4A7F-BFE2-B5D22455B22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517650" y="3322251"/>
            <a:ext cx="17592763" cy="4060214"/>
          </a:xfrm>
        </p:spPr>
        <p:txBody>
          <a:bodyPr/>
          <a:lstStyle/>
          <a:p>
            <a:r>
              <a:rPr lang="ru-RU" sz="4617" dirty="0">
                <a:latin typeface="Times New Roman" panose="02020603050405020304" pitchFamily="18" charset="0"/>
                <a:cs typeface="Times New Roman" panose="02020603050405020304" pitchFamily="18" charset="0"/>
              </a:rPr>
              <a:t>1. Что больше: 8+1 или 8-1.</a:t>
            </a:r>
          </a:p>
          <a:p>
            <a:r>
              <a:rPr lang="ru-RU" sz="4617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</a:p>
          <a:p>
            <a:r>
              <a:rPr lang="ru-RU" sz="4617" dirty="0">
                <a:latin typeface="Times New Roman" panose="02020603050405020304" pitchFamily="18" charset="0"/>
                <a:cs typeface="Times New Roman" panose="02020603050405020304" pitchFamily="18" charset="0"/>
              </a:rPr>
              <a:t>2. Сравни участки по площади. Где находится самый маленький участок?</a:t>
            </a:r>
          </a:p>
          <a:p>
            <a:endParaRPr lang="ru-RU" dirty="0"/>
          </a:p>
          <a:p>
            <a:endParaRPr lang="ru-RU" dirty="0"/>
          </a:p>
        </p:txBody>
      </p:sp>
      <p:grpSp>
        <p:nvGrpSpPr>
          <p:cNvPr id="32" name="Группа 31">
            <a:extLst>
              <a:ext uri="{FF2B5EF4-FFF2-40B4-BE49-F238E27FC236}">
                <a16:creationId xmlns:a16="http://schemas.microsoft.com/office/drawing/2014/main" id="{47CFC828-0D52-49D9-90BA-FCCF2ED0905A}"/>
              </a:ext>
            </a:extLst>
          </p:cNvPr>
          <p:cNvGrpSpPr/>
          <p:nvPr/>
        </p:nvGrpSpPr>
        <p:grpSpPr>
          <a:xfrm>
            <a:off x="2432050" y="7331075"/>
            <a:ext cx="13823237" cy="2367909"/>
            <a:chOff x="917077" y="3581400"/>
            <a:chExt cx="8383012" cy="1436003"/>
          </a:xfrm>
        </p:grpSpPr>
        <p:sp>
          <p:nvSpPr>
            <p:cNvPr id="4" name="Прямоугольник 3">
              <a:extLst>
                <a:ext uri="{FF2B5EF4-FFF2-40B4-BE49-F238E27FC236}">
                  <a16:creationId xmlns:a16="http://schemas.microsoft.com/office/drawing/2014/main" id="{E278D601-D36B-4DC8-A82C-201B747F3071}"/>
                </a:ext>
              </a:extLst>
            </p:cNvPr>
            <p:cNvSpPr/>
            <p:nvPr/>
          </p:nvSpPr>
          <p:spPr>
            <a:xfrm>
              <a:off x="917077" y="4495800"/>
              <a:ext cx="457200" cy="457200"/>
            </a:xfrm>
            <a:prstGeom prst="rect">
              <a:avLst/>
            </a:prstGeom>
            <a:solidFill>
              <a:srgbClr val="FFFF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968" dirty="0"/>
            </a:p>
          </p:txBody>
        </p:sp>
        <p:sp>
          <p:nvSpPr>
            <p:cNvPr id="5" name="Прямоугольник 4">
              <a:extLst>
                <a:ext uri="{FF2B5EF4-FFF2-40B4-BE49-F238E27FC236}">
                  <a16:creationId xmlns:a16="http://schemas.microsoft.com/office/drawing/2014/main" id="{4EB2BBEA-5CCC-42C0-A253-FD1C1F0FBB52}"/>
                </a:ext>
              </a:extLst>
            </p:cNvPr>
            <p:cNvSpPr/>
            <p:nvPr/>
          </p:nvSpPr>
          <p:spPr>
            <a:xfrm>
              <a:off x="1371600" y="4495800"/>
              <a:ext cx="457200" cy="457200"/>
            </a:xfrm>
            <a:prstGeom prst="rect">
              <a:avLst/>
            </a:prstGeom>
            <a:solidFill>
              <a:srgbClr val="FFFF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968"/>
            </a:p>
          </p:txBody>
        </p:sp>
        <p:sp>
          <p:nvSpPr>
            <p:cNvPr id="6" name="Прямоугольник 5">
              <a:extLst>
                <a:ext uri="{FF2B5EF4-FFF2-40B4-BE49-F238E27FC236}">
                  <a16:creationId xmlns:a16="http://schemas.microsoft.com/office/drawing/2014/main" id="{9339A17E-775E-4CBA-9614-509866B4C6F1}"/>
                </a:ext>
              </a:extLst>
            </p:cNvPr>
            <p:cNvSpPr/>
            <p:nvPr/>
          </p:nvSpPr>
          <p:spPr>
            <a:xfrm>
              <a:off x="1371600" y="4038600"/>
              <a:ext cx="457200" cy="457200"/>
            </a:xfrm>
            <a:prstGeom prst="rect">
              <a:avLst/>
            </a:prstGeom>
            <a:solidFill>
              <a:srgbClr val="FFFF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968"/>
            </a:p>
          </p:txBody>
        </p:sp>
        <p:sp>
          <p:nvSpPr>
            <p:cNvPr id="7" name="Прямоугольник 6">
              <a:extLst>
                <a:ext uri="{FF2B5EF4-FFF2-40B4-BE49-F238E27FC236}">
                  <a16:creationId xmlns:a16="http://schemas.microsoft.com/office/drawing/2014/main" id="{521D9688-F346-434F-9C32-DCA5BFC67904}"/>
                </a:ext>
              </a:extLst>
            </p:cNvPr>
            <p:cNvSpPr/>
            <p:nvPr/>
          </p:nvSpPr>
          <p:spPr>
            <a:xfrm>
              <a:off x="1371600" y="3587335"/>
              <a:ext cx="457200" cy="457200"/>
            </a:xfrm>
            <a:prstGeom prst="rect">
              <a:avLst/>
            </a:prstGeom>
            <a:solidFill>
              <a:srgbClr val="FFFF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968"/>
            </a:p>
          </p:txBody>
        </p:sp>
        <p:sp>
          <p:nvSpPr>
            <p:cNvPr id="8" name="Прямоугольник 7">
              <a:extLst>
                <a:ext uri="{FF2B5EF4-FFF2-40B4-BE49-F238E27FC236}">
                  <a16:creationId xmlns:a16="http://schemas.microsoft.com/office/drawing/2014/main" id="{19603242-AE2B-4C4C-874E-2EADEB642E8E}"/>
                </a:ext>
              </a:extLst>
            </p:cNvPr>
            <p:cNvSpPr/>
            <p:nvPr/>
          </p:nvSpPr>
          <p:spPr>
            <a:xfrm>
              <a:off x="1849569" y="3587335"/>
              <a:ext cx="457200" cy="457200"/>
            </a:xfrm>
            <a:prstGeom prst="rect">
              <a:avLst/>
            </a:prstGeom>
            <a:solidFill>
              <a:srgbClr val="FFFF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968"/>
            </a:p>
          </p:txBody>
        </p:sp>
        <p:sp>
          <p:nvSpPr>
            <p:cNvPr id="9" name="Прямоугольник 8">
              <a:extLst>
                <a:ext uri="{FF2B5EF4-FFF2-40B4-BE49-F238E27FC236}">
                  <a16:creationId xmlns:a16="http://schemas.microsoft.com/office/drawing/2014/main" id="{E77D9B5E-D9FA-43CF-98F3-2FB63E0F03F6}"/>
                </a:ext>
              </a:extLst>
            </p:cNvPr>
            <p:cNvSpPr/>
            <p:nvPr/>
          </p:nvSpPr>
          <p:spPr>
            <a:xfrm>
              <a:off x="2300907" y="3587335"/>
              <a:ext cx="457200" cy="457200"/>
            </a:xfrm>
            <a:prstGeom prst="rect">
              <a:avLst/>
            </a:prstGeom>
            <a:solidFill>
              <a:srgbClr val="FFFF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968"/>
            </a:p>
          </p:txBody>
        </p:sp>
        <p:sp>
          <p:nvSpPr>
            <p:cNvPr id="10" name="Прямоугольник 9">
              <a:extLst>
                <a:ext uri="{FF2B5EF4-FFF2-40B4-BE49-F238E27FC236}">
                  <a16:creationId xmlns:a16="http://schemas.microsoft.com/office/drawing/2014/main" id="{F4487EB8-E1A8-443E-8120-4FC5635178D2}"/>
                </a:ext>
              </a:extLst>
            </p:cNvPr>
            <p:cNvSpPr/>
            <p:nvPr/>
          </p:nvSpPr>
          <p:spPr>
            <a:xfrm>
              <a:off x="2300907" y="4067908"/>
              <a:ext cx="457200" cy="457200"/>
            </a:xfrm>
            <a:prstGeom prst="rect">
              <a:avLst/>
            </a:prstGeom>
            <a:solidFill>
              <a:srgbClr val="FFFF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968"/>
            </a:p>
          </p:txBody>
        </p:sp>
        <p:sp>
          <p:nvSpPr>
            <p:cNvPr id="11" name="Прямоугольник 10">
              <a:extLst>
                <a:ext uri="{FF2B5EF4-FFF2-40B4-BE49-F238E27FC236}">
                  <a16:creationId xmlns:a16="http://schemas.microsoft.com/office/drawing/2014/main" id="{47760FC8-EF08-4459-86AF-A1ECAC091A4C}"/>
                </a:ext>
              </a:extLst>
            </p:cNvPr>
            <p:cNvSpPr/>
            <p:nvPr/>
          </p:nvSpPr>
          <p:spPr>
            <a:xfrm>
              <a:off x="2300907" y="4530895"/>
              <a:ext cx="457200" cy="457200"/>
            </a:xfrm>
            <a:prstGeom prst="rect">
              <a:avLst/>
            </a:prstGeom>
            <a:solidFill>
              <a:srgbClr val="FFFF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968"/>
            </a:p>
          </p:txBody>
        </p:sp>
        <p:sp>
          <p:nvSpPr>
            <p:cNvPr id="12" name="Прямоугольник 11">
              <a:extLst>
                <a:ext uri="{FF2B5EF4-FFF2-40B4-BE49-F238E27FC236}">
                  <a16:creationId xmlns:a16="http://schemas.microsoft.com/office/drawing/2014/main" id="{5E232B7F-9F0D-476E-A8D5-2476BC5C1C5D}"/>
                </a:ext>
              </a:extLst>
            </p:cNvPr>
            <p:cNvSpPr/>
            <p:nvPr/>
          </p:nvSpPr>
          <p:spPr>
            <a:xfrm>
              <a:off x="2773014" y="4536831"/>
              <a:ext cx="457200" cy="457200"/>
            </a:xfrm>
            <a:prstGeom prst="rect">
              <a:avLst/>
            </a:prstGeom>
            <a:solidFill>
              <a:srgbClr val="FFFF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968"/>
            </a:p>
          </p:txBody>
        </p:sp>
        <p:sp>
          <p:nvSpPr>
            <p:cNvPr id="13" name="Прямоугольник 12">
              <a:extLst>
                <a:ext uri="{FF2B5EF4-FFF2-40B4-BE49-F238E27FC236}">
                  <a16:creationId xmlns:a16="http://schemas.microsoft.com/office/drawing/2014/main" id="{81EC0B16-41F7-406C-BE75-40F64B1F192D}"/>
                </a:ext>
              </a:extLst>
            </p:cNvPr>
            <p:cNvSpPr/>
            <p:nvPr/>
          </p:nvSpPr>
          <p:spPr>
            <a:xfrm>
              <a:off x="4337538" y="4079631"/>
              <a:ext cx="457200" cy="457200"/>
            </a:xfrm>
            <a:prstGeom prst="rect">
              <a:avLst/>
            </a:prstGeom>
            <a:solidFill>
              <a:srgbClr val="FFFF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968"/>
            </a:p>
          </p:txBody>
        </p:sp>
        <p:sp>
          <p:nvSpPr>
            <p:cNvPr id="14" name="Прямоугольник 13">
              <a:extLst>
                <a:ext uri="{FF2B5EF4-FFF2-40B4-BE49-F238E27FC236}">
                  <a16:creationId xmlns:a16="http://schemas.microsoft.com/office/drawing/2014/main" id="{EB4270D8-0362-41B2-A36D-68F6A1D2BABE}"/>
                </a:ext>
              </a:extLst>
            </p:cNvPr>
            <p:cNvSpPr/>
            <p:nvPr/>
          </p:nvSpPr>
          <p:spPr>
            <a:xfrm>
              <a:off x="3886200" y="3622431"/>
              <a:ext cx="457200" cy="457200"/>
            </a:xfrm>
            <a:prstGeom prst="rect">
              <a:avLst/>
            </a:prstGeom>
            <a:solidFill>
              <a:srgbClr val="FFFF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968"/>
            </a:p>
          </p:txBody>
        </p:sp>
        <p:sp>
          <p:nvSpPr>
            <p:cNvPr id="15" name="Прямоугольник 14">
              <a:extLst>
                <a:ext uri="{FF2B5EF4-FFF2-40B4-BE49-F238E27FC236}">
                  <a16:creationId xmlns:a16="http://schemas.microsoft.com/office/drawing/2014/main" id="{3ED71C2B-F351-4D13-8482-DD464A8E3C8C}"/>
                </a:ext>
              </a:extLst>
            </p:cNvPr>
            <p:cNvSpPr/>
            <p:nvPr/>
          </p:nvSpPr>
          <p:spPr>
            <a:xfrm>
              <a:off x="4821368" y="3622431"/>
              <a:ext cx="457200" cy="457200"/>
            </a:xfrm>
            <a:prstGeom prst="rect">
              <a:avLst/>
            </a:prstGeom>
            <a:solidFill>
              <a:srgbClr val="FFFF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968"/>
            </a:p>
          </p:txBody>
        </p:sp>
        <p:sp>
          <p:nvSpPr>
            <p:cNvPr id="16" name="Прямоугольник 15">
              <a:extLst>
                <a:ext uri="{FF2B5EF4-FFF2-40B4-BE49-F238E27FC236}">
                  <a16:creationId xmlns:a16="http://schemas.microsoft.com/office/drawing/2014/main" id="{27398A79-01C8-4BB8-B637-093419EBFDDC}"/>
                </a:ext>
              </a:extLst>
            </p:cNvPr>
            <p:cNvSpPr/>
            <p:nvPr/>
          </p:nvSpPr>
          <p:spPr>
            <a:xfrm>
              <a:off x="3840323" y="4560203"/>
              <a:ext cx="457200" cy="457200"/>
            </a:xfrm>
            <a:prstGeom prst="rect">
              <a:avLst/>
            </a:prstGeom>
            <a:solidFill>
              <a:srgbClr val="FFFF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968"/>
            </a:p>
          </p:txBody>
        </p:sp>
        <p:sp>
          <p:nvSpPr>
            <p:cNvPr id="17" name="Прямоугольник 16">
              <a:extLst>
                <a:ext uri="{FF2B5EF4-FFF2-40B4-BE49-F238E27FC236}">
                  <a16:creationId xmlns:a16="http://schemas.microsoft.com/office/drawing/2014/main" id="{7D974EE1-7200-4131-B1FE-344D41381D1F}"/>
                </a:ext>
              </a:extLst>
            </p:cNvPr>
            <p:cNvSpPr/>
            <p:nvPr/>
          </p:nvSpPr>
          <p:spPr>
            <a:xfrm>
              <a:off x="4324983" y="4560203"/>
              <a:ext cx="457200" cy="457200"/>
            </a:xfrm>
            <a:prstGeom prst="rect">
              <a:avLst/>
            </a:prstGeom>
            <a:solidFill>
              <a:srgbClr val="FFFF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968"/>
            </a:p>
          </p:txBody>
        </p:sp>
        <p:sp>
          <p:nvSpPr>
            <p:cNvPr id="18" name="Прямоугольник 17">
              <a:extLst>
                <a:ext uri="{FF2B5EF4-FFF2-40B4-BE49-F238E27FC236}">
                  <a16:creationId xmlns:a16="http://schemas.microsoft.com/office/drawing/2014/main" id="{D0750491-3349-4EFC-B4BD-26C0D85492E0}"/>
                </a:ext>
              </a:extLst>
            </p:cNvPr>
            <p:cNvSpPr/>
            <p:nvPr/>
          </p:nvSpPr>
          <p:spPr>
            <a:xfrm>
              <a:off x="4821368" y="4552143"/>
              <a:ext cx="457200" cy="457200"/>
            </a:xfrm>
            <a:prstGeom prst="rect">
              <a:avLst/>
            </a:prstGeom>
            <a:solidFill>
              <a:srgbClr val="FFFF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968"/>
            </a:p>
          </p:txBody>
        </p:sp>
        <p:sp>
          <p:nvSpPr>
            <p:cNvPr id="19" name="Прямоугольник 18">
              <a:extLst>
                <a:ext uri="{FF2B5EF4-FFF2-40B4-BE49-F238E27FC236}">
                  <a16:creationId xmlns:a16="http://schemas.microsoft.com/office/drawing/2014/main" id="{FA315EF4-7CD7-45FB-9198-6B4CBEAFF03A}"/>
                </a:ext>
              </a:extLst>
            </p:cNvPr>
            <p:cNvSpPr/>
            <p:nvPr/>
          </p:nvSpPr>
          <p:spPr>
            <a:xfrm>
              <a:off x="5922831" y="3622431"/>
              <a:ext cx="457200" cy="457200"/>
            </a:xfrm>
            <a:prstGeom prst="rect">
              <a:avLst/>
            </a:prstGeom>
            <a:solidFill>
              <a:srgbClr val="FFFF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968"/>
            </a:p>
          </p:txBody>
        </p:sp>
        <p:sp>
          <p:nvSpPr>
            <p:cNvPr id="20" name="Прямоугольник 19">
              <a:extLst>
                <a:ext uri="{FF2B5EF4-FFF2-40B4-BE49-F238E27FC236}">
                  <a16:creationId xmlns:a16="http://schemas.microsoft.com/office/drawing/2014/main" id="{072F5BA2-6028-48F6-83B3-186376536AC0}"/>
                </a:ext>
              </a:extLst>
            </p:cNvPr>
            <p:cNvSpPr/>
            <p:nvPr/>
          </p:nvSpPr>
          <p:spPr>
            <a:xfrm>
              <a:off x="5922831" y="4079631"/>
              <a:ext cx="457200" cy="457200"/>
            </a:xfrm>
            <a:prstGeom prst="rect">
              <a:avLst/>
            </a:prstGeom>
            <a:solidFill>
              <a:srgbClr val="FFFF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968"/>
            </a:p>
          </p:txBody>
        </p:sp>
        <p:sp>
          <p:nvSpPr>
            <p:cNvPr id="21" name="Прямоугольник 20">
              <a:extLst>
                <a:ext uri="{FF2B5EF4-FFF2-40B4-BE49-F238E27FC236}">
                  <a16:creationId xmlns:a16="http://schemas.microsoft.com/office/drawing/2014/main" id="{A4FB9A49-E086-47B5-B973-ABDA90815560}"/>
                </a:ext>
              </a:extLst>
            </p:cNvPr>
            <p:cNvSpPr/>
            <p:nvPr/>
          </p:nvSpPr>
          <p:spPr>
            <a:xfrm>
              <a:off x="5922831" y="4525108"/>
              <a:ext cx="457200" cy="457200"/>
            </a:xfrm>
            <a:prstGeom prst="rect">
              <a:avLst/>
            </a:prstGeom>
            <a:solidFill>
              <a:srgbClr val="FFFF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968"/>
            </a:p>
          </p:txBody>
        </p:sp>
        <p:sp>
          <p:nvSpPr>
            <p:cNvPr id="22" name="Прямоугольник 21">
              <a:extLst>
                <a:ext uri="{FF2B5EF4-FFF2-40B4-BE49-F238E27FC236}">
                  <a16:creationId xmlns:a16="http://schemas.microsoft.com/office/drawing/2014/main" id="{4C9F59F0-555C-43AB-88F1-55120243E4BE}"/>
                </a:ext>
              </a:extLst>
            </p:cNvPr>
            <p:cNvSpPr/>
            <p:nvPr/>
          </p:nvSpPr>
          <p:spPr>
            <a:xfrm>
              <a:off x="6389580" y="4525108"/>
              <a:ext cx="457200" cy="457200"/>
            </a:xfrm>
            <a:prstGeom prst="rect">
              <a:avLst/>
            </a:prstGeom>
            <a:solidFill>
              <a:srgbClr val="FFFF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968"/>
            </a:p>
          </p:txBody>
        </p:sp>
        <p:sp>
          <p:nvSpPr>
            <p:cNvPr id="23" name="Прямоугольник 22">
              <a:extLst>
                <a:ext uri="{FF2B5EF4-FFF2-40B4-BE49-F238E27FC236}">
                  <a16:creationId xmlns:a16="http://schemas.microsoft.com/office/drawing/2014/main" id="{4C66A292-661D-45CA-A7F8-BEC003E1DA67}"/>
                </a:ext>
              </a:extLst>
            </p:cNvPr>
            <p:cNvSpPr/>
            <p:nvPr/>
          </p:nvSpPr>
          <p:spPr>
            <a:xfrm>
              <a:off x="6807921" y="4525108"/>
              <a:ext cx="457200" cy="457200"/>
            </a:xfrm>
            <a:prstGeom prst="rect">
              <a:avLst/>
            </a:prstGeom>
            <a:solidFill>
              <a:srgbClr val="FFFF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968"/>
            </a:p>
          </p:txBody>
        </p:sp>
        <p:sp>
          <p:nvSpPr>
            <p:cNvPr id="24" name="Прямоугольник 23">
              <a:extLst>
                <a:ext uri="{FF2B5EF4-FFF2-40B4-BE49-F238E27FC236}">
                  <a16:creationId xmlns:a16="http://schemas.microsoft.com/office/drawing/2014/main" id="{468A2A70-AC7C-45BD-A537-F47B2E6D4853}"/>
                </a:ext>
              </a:extLst>
            </p:cNvPr>
            <p:cNvSpPr/>
            <p:nvPr/>
          </p:nvSpPr>
          <p:spPr>
            <a:xfrm>
              <a:off x="6807921" y="4062047"/>
              <a:ext cx="457200" cy="457200"/>
            </a:xfrm>
            <a:prstGeom prst="rect">
              <a:avLst/>
            </a:prstGeom>
            <a:solidFill>
              <a:srgbClr val="FFFF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968"/>
            </a:p>
          </p:txBody>
        </p:sp>
        <p:sp>
          <p:nvSpPr>
            <p:cNvPr id="25" name="Прямоугольник 24">
              <a:extLst>
                <a:ext uri="{FF2B5EF4-FFF2-40B4-BE49-F238E27FC236}">
                  <a16:creationId xmlns:a16="http://schemas.microsoft.com/office/drawing/2014/main" id="{672D6FE4-998F-4B9A-9CE2-45FB8795091B}"/>
                </a:ext>
              </a:extLst>
            </p:cNvPr>
            <p:cNvSpPr/>
            <p:nvPr/>
          </p:nvSpPr>
          <p:spPr>
            <a:xfrm>
              <a:off x="6812120" y="3581400"/>
              <a:ext cx="457200" cy="457200"/>
            </a:xfrm>
            <a:prstGeom prst="rect">
              <a:avLst/>
            </a:prstGeom>
            <a:solidFill>
              <a:srgbClr val="FFFF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968"/>
            </a:p>
          </p:txBody>
        </p:sp>
        <p:sp>
          <p:nvSpPr>
            <p:cNvPr id="26" name="Прямоугольник 25">
              <a:extLst>
                <a:ext uri="{FF2B5EF4-FFF2-40B4-BE49-F238E27FC236}">
                  <a16:creationId xmlns:a16="http://schemas.microsoft.com/office/drawing/2014/main" id="{7D07D4D1-2C31-4A4D-BE0C-50DA7C6FAE4D}"/>
                </a:ext>
              </a:extLst>
            </p:cNvPr>
            <p:cNvSpPr/>
            <p:nvPr/>
          </p:nvSpPr>
          <p:spPr>
            <a:xfrm>
              <a:off x="7263458" y="3581400"/>
              <a:ext cx="457200" cy="457200"/>
            </a:xfrm>
            <a:prstGeom prst="rect">
              <a:avLst/>
            </a:prstGeom>
            <a:solidFill>
              <a:srgbClr val="FFFF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968"/>
            </a:p>
          </p:txBody>
        </p:sp>
        <p:sp>
          <p:nvSpPr>
            <p:cNvPr id="27" name="Прямоугольник 26">
              <a:extLst>
                <a:ext uri="{FF2B5EF4-FFF2-40B4-BE49-F238E27FC236}">
                  <a16:creationId xmlns:a16="http://schemas.microsoft.com/office/drawing/2014/main" id="{DB13521B-1790-498B-A361-35E1B3DC5ED9}"/>
                </a:ext>
              </a:extLst>
            </p:cNvPr>
            <p:cNvSpPr/>
            <p:nvPr/>
          </p:nvSpPr>
          <p:spPr>
            <a:xfrm>
              <a:off x="8842889" y="4484003"/>
              <a:ext cx="457200" cy="457200"/>
            </a:xfrm>
            <a:prstGeom prst="rect">
              <a:avLst/>
            </a:prstGeom>
            <a:solidFill>
              <a:srgbClr val="FFFF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968"/>
            </a:p>
          </p:txBody>
        </p:sp>
        <p:sp>
          <p:nvSpPr>
            <p:cNvPr id="28" name="Прямоугольник 27">
              <a:extLst>
                <a:ext uri="{FF2B5EF4-FFF2-40B4-BE49-F238E27FC236}">
                  <a16:creationId xmlns:a16="http://schemas.microsoft.com/office/drawing/2014/main" id="{A23ED2EE-7A11-4511-A393-C6F500653450}"/>
                </a:ext>
              </a:extLst>
            </p:cNvPr>
            <p:cNvSpPr/>
            <p:nvPr/>
          </p:nvSpPr>
          <p:spPr>
            <a:xfrm>
              <a:off x="7940213" y="4465468"/>
              <a:ext cx="457200" cy="457200"/>
            </a:xfrm>
            <a:prstGeom prst="rect">
              <a:avLst/>
            </a:prstGeom>
            <a:solidFill>
              <a:srgbClr val="FFFF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968"/>
            </a:p>
          </p:txBody>
        </p:sp>
        <p:sp>
          <p:nvSpPr>
            <p:cNvPr id="29" name="Прямоугольник 28">
              <a:extLst>
                <a:ext uri="{FF2B5EF4-FFF2-40B4-BE49-F238E27FC236}">
                  <a16:creationId xmlns:a16="http://schemas.microsoft.com/office/drawing/2014/main" id="{F50DFD88-4FFD-405C-93E8-A1609D86D07C}"/>
                </a:ext>
              </a:extLst>
            </p:cNvPr>
            <p:cNvSpPr/>
            <p:nvPr/>
          </p:nvSpPr>
          <p:spPr>
            <a:xfrm>
              <a:off x="8391551" y="4472206"/>
              <a:ext cx="457200" cy="457200"/>
            </a:xfrm>
            <a:prstGeom prst="rect">
              <a:avLst/>
            </a:prstGeom>
            <a:solidFill>
              <a:srgbClr val="FFFF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968"/>
            </a:p>
          </p:txBody>
        </p:sp>
        <p:sp>
          <p:nvSpPr>
            <p:cNvPr id="30" name="Прямоугольник 29">
              <a:extLst>
                <a:ext uri="{FF2B5EF4-FFF2-40B4-BE49-F238E27FC236}">
                  <a16:creationId xmlns:a16="http://schemas.microsoft.com/office/drawing/2014/main" id="{2E3D19A8-9EDC-4780-A79A-831E58208022}"/>
                </a:ext>
              </a:extLst>
            </p:cNvPr>
            <p:cNvSpPr/>
            <p:nvPr/>
          </p:nvSpPr>
          <p:spPr>
            <a:xfrm>
              <a:off x="8391551" y="4026803"/>
              <a:ext cx="457200" cy="457200"/>
            </a:xfrm>
            <a:prstGeom prst="rect">
              <a:avLst/>
            </a:prstGeom>
            <a:solidFill>
              <a:srgbClr val="FFFF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968"/>
            </a:p>
          </p:txBody>
        </p:sp>
        <p:sp>
          <p:nvSpPr>
            <p:cNvPr id="31" name="Прямоугольник 30">
              <a:extLst>
                <a:ext uri="{FF2B5EF4-FFF2-40B4-BE49-F238E27FC236}">
                  <a16:creationId xmlns:a16="http://schemas.microsoft.com/office/drawing/2014/main" id="{7EC3D704-87B2-4C65-A9B8-D5451C8D2028}"/>
                </a:ext>
              </a:extLst>
            </p:cNvPr>
            <p:cNvSpPr/>
            <p:nvPr/>
          </p:nvSpPr>
          <p:spPr>
            <a:xfrm>
              <a:off x="8397413" y="3581400"/>
              <a:ext cx="457200" cy="457200"/>
            </a:xfrm>
            <a:prstGeom prst="rect">
              <a:avLst/>
            </a:prstGeom>
            <a:solidFill>
              <a:srgbClr val="FFFF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968"/>
            </a:p>
          </p:txBody>
        </p:sp>
      </p:grpSp>
      <p:pic>
        <p:nvPicPr>
          <p:cNvPr id="33" name="Рисунок 32">
            <a:extLst>
              <a:ext uri="{FF2B5EF4-FFF2-40B4-BE49-F238E27FC236}">
                <a16:creationId xmlns:a16="http://schemas.microsoft.com/office/drawing/2014/main" id="{A650DD2F-4849-4C10-A14E-EB56B95620B3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50000"/>
                    </a14:imgEffect>
                    <a14:imgEffect>
                      <a14:saturation sat="400000"/>
                    </a14:imgEffect>
                    <a14:imgEffect>
                      <a14:brightnessContrast bright="-4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r="68876"/>
          <a:stretch/>
        </p:blipFill>
        <p:spPr>
          <a:xfrm>
            <a:off x="17550728" y="244474"/>
            <a:ext cx="2254922" cy="18599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0227972"/>
      </p:ext>
    </p:extLst>
  </p:cSld>
  <p:clrMapOvr>
    <a:masterClrMapping/>
  </p:clrMapOvr>
  <p:transition spd="med"/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>
            <a:extLst>
              <a:ext uri="{FF2B5EF4-FFF2-40B4-BE49-F238E27FC236}">
                <a16:creationId xmlns:a16="http://schemas.microsoft.com/office/drawing/2014/main" id="{2BBD26FD-8D68-4C55-BEA3-C8A1E36E92A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851650" y="3140075"/>
            <a:ext cx="6967583" cy="677108"/>
          </a:xfrm>
        </p:spPr>
        <p:txBody>
          <a:bodyPr/>
          <a:lstStyle/>
          <a:p>
            <a:pPr algn="ctr"/>
            <a:r>
              <a:rPr lang="ru-RU" sz="4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Благодарю за внимание !</a:t>
            </a: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55BB1154-C9B7-4F32-9878-90A3FD7338C2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50000"/>
                    </a14:imgEffect>
                    <a14:imgEffect>
                      <a14:saturation sat="400000"/>
                    </a14:imgEffect>
                    <a14:imgEffect>
                      <a14:brightnessContrast bright="-4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r="68876"/>
          <a:stretch/>
        </p:blipFill>
        <p:spPr>
          <a:xfrm>
            <a:off x="17550728" y="244474"/>
            <a:ext cx="2254922" cy="18599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8729561"/>
      </p:ext>
    </p:extLst>
  </p:cSld>
  <p:clrMapOvr>
    <a:masterClrMapping/>
  </p:clrMapOvr>
  <p:transition spd="med"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Текст 2">
            <a:extLst>
              <a:ext uri="{FF2B5EF4-FFF2-40B4-BE49-F238E27FC236}">
                <a16:creationId xmlns:a16="http://schemas.microsoft.com/office/drawing/2014/main" id="{DFAEF36B-5D77-47FA-8349-0CCF5BB9EACB}"/>
              </a:ext>
            </a:extLst>
          </p:cNvPr>
          <p:cNvSpPr txBox="1">
            <a:spLocks/>
          </p:cNvSpPr>
          <p:nvPr/>
        </p:nvSpPr>
        <p:spPr>
          <a:xfrm>
            <a:off x="1108529" y="2131190"/>
            <a:ext cx="18669000" cy="8229600"/>
          </a:xfrm>
          <a:prstGeom prst="rect">
            <a:avLst/>
          </a:prstGeom>
        </p:spPr>
        <p:txBody>
          <a:bodyPr/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00">
              <a:defRPr>
                <a:latin typeface="+mn-lt"/>
                <a:ea typeface="+mn-ea"/>
                <a:cs typeface="+mn-cs"/>
              </a:defRPr>
            </a:lvl2pPr>
            <a:lvl3pPr marL="914400">
              <a:defRPr>
                <a:latin typeface="+mn-lt"/>
                <a:ea typeface="+mn-ea"/>
                <a:cs typeface="+mn-cs"/>
              </a:defRPr>
            </a:lvl3pPr>
            <a:lvl4pPr marL="1371600">
              <a:defRPr>
                <a:latin typeface="+mn-lt"/>
                <a:ea typeface="+mn-ea"/>
                <a:cs typeface="+mn-cs"/>
              </a:defRPr>
            </a:lvl4pPr>
            <a:lvl5pPr marL="1828800">
              <a:defRPr>
                <a:latin typeface="+mn-lt"/>
                <a:ea typeface="+mn-ea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3600" b="1" kern="0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каз Президента Российской Федерации </a:t>
            </a:r>
            <a:br>
              <a:rPr lang="ru-RU" sz="3600" b="1" kern="0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3600" b="1" kern="0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т 7 мая 2018 года №204</a:t>
            </a:r>
          </a:p>
          <a:p>
            <a:pPr algn="ctr"/>
            <a:r>
              <a:rPr lang="ru-RU" sz="3600" b="1" kern="0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«О национальных целях и стратегических задачах развития Российской Федерации на период до 2024 года»</a:t>
            </a:r>
          </a:p>
          <a:p>
            <a:r>
              <a:rPr lang="ru-RU" sz="3600" b="1" kern="0" dirty="0">
                <a:solidFill>
                  <a:sysClr val="windowText" lastClr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беспечение глобальной конкурентоспособности российского образования, в том числе посредством повышения качества общего образования</a:t>
            </a:r>
            <a:r>
              <a:rPr lang="ru-RU" sz="3600" kern="0" dirty="0">
                <a:solidFill>
                  <a:sysClr val="windowText" lastClr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</a:p>
          <a:p>
            <a:endParaRPr lang="ru-RU" sz="3200" kern="0" dirty="0">
              <a:solidFill>
                <a:sysClr val="windowText" lastClr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r>
              <a:rPr lang="ru-RU" sz="3600" b="1" kern="0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каз Президента Российской Федерации </a:t>
            </a:r>
          </a:p>
          <a:p>
            <a:pPr algn="ctr"/>
            <a:r>
              <a:rPr lang="ru-RU" sz="3600" b="1" kern="0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т 21 июля 2020 года № 474 </a:t>
            </a:r>
          </a:p>
          <a:p>
            <a:pPr algn="ctr"/>
            <a:r>
              <a:rPr lang="ru-RU" sz="3600" b="1" kern="0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«О национальных целях развития Российской Федерации на период </a:t>
            </a:r>
          </a:p>
          <a:p>
            <a:pPr algn="ctr"/>
            <a:r>
              <a:rPr lang="ru-RU" sz="3600" b="1" kern="0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о 2030 года» </a:t>
            </a:r>
          </a:p>
          <a:p>
            <a:r>
              <a:rPr lang="ru-RU" sz="3600" b="1" kern="0" dirty="0">
                <a:solidFill>
                  <a:sysClr val="windowText" lastClr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ациональная цель:</a:t>
            </a:r>
            <a:r>
              <a:rPr lang="ru-RU" sz="3600" kern="0" dirty="0">
                <a:solidFill>
                  <a:sysClr val="windowText" lastClr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возможности для самореализации и развития талантов. </a:t>
            </a:r>
            <a:r>
              <a:rPr lang="ru-RU" sz="3600" b="1" kern="0" dirty="0">
                <a:solidFill>
                  <a:sysClr val="windowText" lastClr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Целевой показатель:</a:t>
            </a:r>
            <a:r>
              <a:rPr lang="ru-RU" sz="3600" kern="0" dirty="0">
                <a:solidFill>
                  <a:sysClr val="windowText" lastClr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вхождение Российской Федерации в число десяти ведущих стран мира по качеству общего образования. </a:t>
            </a:r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0CF5C3E8-39D1-4DC3-9547-E56ACC172064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50000"/>
                    </a14:imgEffect>
                    <a14:imgEffect>
                      <a14:saturation sat="400000"/>
                    </a14:imgEffect>
                    <a14:imgEffect>
                      <a14:brightnessContrast bright="-4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r="68876"/>
          <a:stretch/>
        </p:blipFill>
        <p:spPr>
          <a:xfrm>
            <a:off x="17550728" y="244474"/>
            <a:ext cx="2254922" cy="18599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899339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778770A7-569F-4086-A643-A288308826F5}"/>
              </a:ext>
            </a:extLst>
          </p:cNvPr>
          <p:cNvSpPr/>
          <p:nvPr/>
        </p:nvSpPr>
        <p:spPr>
          <a:xfrm>
            <a:off x="5708650" y="549275"/>
            <a:ext cx="937260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48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Функциональная грамотность</a:t>
            </a:r>
            <a:endParaRPr lang="ru-RU" sz="4800" dirty="0"/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8D3FDA98-5184-468D-9362-29C88851C7EB}"/>
              </a:ext>
            </a:extLst>
          </p:cNvPr>
          <p:cNvSpPr/>
          <p:nvPr/>
        </p:nvSpPr>
        <p:spPr>
          <a:xfrm>
            <a:off x="1365250" y="3216275"/>
            <a:ext cx="18059399" cy="651460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800"/>
              </a:spcBef>
            </a:pPr>
            <a:r>
              <a:rPr lang="ru-RU" sz="4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Термин введен ЮНЕСКО в 1957 году</a:t>
            </a:r>
            <a:br>
              <a:rPr lang="ru-RU" sz="4800" dirty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4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как «</a:t>
            </a:r>
            <a:r>
              <a:rPr lang="ru-RU" sz="4800" b="1" i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овокупность умений читать и писать </a:t>
            </a:r>
            <a:r>
              <a:rPr lang="ru-RU" sz="4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для использования в повседневной жизни и удовлетворения житейских проблем»</a:t>
            </a:r>
            <a:r>
              <a:rPr lang="ru-RU" sz="48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</a:p>
          <a:p>
            <a:pPr>
              <a:spcBef>
                <a:spcPts val="800"/>
              </a:spcBef>
            </a:pPr>
            <a:endParaRPr lang="ru-RU" sz="48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spcBef>
                <a:spcPts val="800"/>
              </a:spcBef>
            </a:pPr>
            <a:r>
              <a:rPr lang="ru-RU" sz="4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Особенности понятия функциональной грамотности: </a:t>
            </a:r>
          </a:p>
          <a:p>
            <a:pPr marL="457200" indent="-457200">
              <a:spcBef>
                <a:spcPts val="800"/>
              </a:spcBef>
              <a:buFont typeface="Arial" panose="020B0604020202020204" pitchFamily="34" charset="0"/>
              <a:buChar char="•"/>
            </a:pPr>
            <a:r>
              <a:rPr lang="ru-RU" sz="4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возможность решения стандартных стереотипных задач;</a:t>
            </a:r>
          </a:p>
          <a:p>
            <a:pPr marL="457200" indent="-457200">
              <a:spcBef>
                <a:spcPts val="800"/>
              </a:spcBef>
              <a:buFont typeface="Arial" panose="020B0604020202020204" pitchFamily="34" charset="0"/>
              <a:buChar char="•"/>
            </a:pPr>
            <a:r>
              <a:rPr lang="ru-RU" sz="4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направленность на решение бытовых проблем;</a:t>
            </a:r>
          </a:p>
          <a:p>
            <a:pPr marL="457200" indent="-457200">
              <a:spcBef>
                <a:spcPts val="800"/>
              </a:spcBef>
              <a:buFont typeface="Arial" panose="020B0604020202020204" pitchFamily="34" charset="0"/>
              <a:buChar char="•"/>
            </a:pPr>
            <a:r>
              <a:rPr lang="ru-RU" sz="4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основной результат – базовый уровень навыков чтения и письма.</a:t>
            </a:r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6F716B69-5C0A-4184-AE1E-99B00362AB9C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50000"/>
                    </a14:imgEffect>
                    <a14:imgEffect>
                      <a14:saturation sat="400000"/>
                    </a14:imgEffect>
                    <a14:imgEffect>
                      <a14:brightnessContrast bright="-4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r="68876"/>
          <a:stretch/>
        </p:blipFill>
        <p:spPr>
          <a:xfrm>
            <a:off x="17550728" y="244474"/>
            <a:ext cx="2254922" cy="18599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137534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670C3A44-F5D2-4407-B042-BC0799DA71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75250" y="474535"/>
            <a:ext cx="12482542" cy="923330"/>
          </a:xfrm>
        </p:spPr>
        <p:txBody>
          <a:bodyPr/>
          <a:lstStyle/>
          <a:p>
            <a:pPr algn="ctr"/>
            <a:r>
              <a:rPr lang="ru-RU" sz="60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Функциональная грамотность</a:t>
            </a:r>
            <a:endParaRPr lang="ru-RU" sz="6000" dirty="0"/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B5D2C4C8-6A6B-4A03-A662-67256F3E5E7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005205" y="3444875"/>
            <a:ext cx="18093690" cy="6400800"/>
          </a:xfrm>
        </p:spPr>
        <p:txBody>
          <a:bodyPr/>
          <a:lstStyle/>
          <a:p>
            <a:pPr indent="482588">
              <a:spcBef>
                <a:spcPts val="800"/>
              </a:spcBef>
            </a:pPr>
            <a:r>
              <a:rPr lang="ru-RU" sz="4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«Функциональная грамотность есть </a:t>
            </a:r>
            <a:r>
              <a:rPr lang="ru-RU" sz="4800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ровень знаний, умений и навыков</a:t>
            </a:r>
            <a:r>
              <a:rPr lang="ru-RU" sz="4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обеспечивающий нормальное функционирование личности в системе социальных отношений, который считается минимально необходимым для осуществления жизнедеятельности личности в конкретной культурной среде» </a:t>
            </a:r>
          </a:p>
          <a:p>
            <a:pPr>
              <a:spcBef>
                <a:spcPts val="800"/>
              </a:spcBef>
            </a:pPr>
            <a:r>
              <a:rPr lang="ru-RU" sz="4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[Азимов Э. Г., Щукин А. Н. Новый словарь методических терминов и понятий (теория и практика обучения языкам). М.: Икар, 2009. 448 с., С. 342].</a:t>
            </a:r>
          </a:p>
          <a:p>
            <a:endParaRPr lang="ru-RU" dirty="0"/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43E53008-864C-41C4-8DB9-ECFA57B5867B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50000"/>
                    </a14:imgEffect>
                    <a14:imgEffect>
                      <a14:saturation sat="400000"/>
                    </a14:imgEffect>
                    <a14:imgEffect>
                      <a14:brightnessContrast bright="-4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r="68876"/>
          <a:stretch/>
        </p:blipFill>
        <p:spPr>
          <a:xfrm>
            <a:off x="17550728" y="244474"/>
            <a:ext cx="2254922" cy="18599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989229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96C1A656-E857-4DBE-A35E-47D094C433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27650" y="293582"/>
            <a:ext cx="10591800" cy="963321"/>
          </a:xfrm>
        </p:spPr>
        <p:txBody>
          <a:bodyPr>
            <a:noAutofit/>
          </a:bodyPr>
          <a:lstStyle/>
          <a:p>
            <a:pPr algn="ctr"/>
            <a:r>
              <a:rPr lang="ru-RU" sz="5277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Функциональная грамотность</a:t>
            </a:r>
            <a:endParaRPr lang="ru-RU" sz="5277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B2DDE922-1357-4496-ADBD-A38F88750FE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81827" y="3140075"/>
            <a:ext cx="18540447" cy="7086600"/>
          </a:xfrm>
        </p:spPr>
        <p:txBody>
          <a:bodyPr>
            <a:noAutofit/>
          </a:bodyPr>
          <a:lstStyle/>
          <a:p>
            <a:pPr indent="795788">
              <a:spcBef>
                <a:spcPts val="1319"/>
              </a:spcBef>
            </a:pPr>
            <a:r>
              <a:rPr lang="ru-RU" sz="5277" dirty="0">
                <a:latin typeface="Times New Roman" panose="02020603050405020304" pitchFamily="18" charset="0"/>
                <a:cs typeface="Times New Roman" panose="02020603050405020304" pitchFamily="18" charset="0"/>
              </a:rPr>
              <a:t>«Обладают ли учащиеся 15-летнего возраста, получившие обязательное общее образование, </a:t>
            </a:r>
            <a:r>
              <a:rPr lang="ru-RU" sz="5277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знаниями и умениями</a:t>
            </a:r>
            <a:r>
              <a:rPr lang="ru-RU" sz="5277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необходимыми им для </a:t>
            </a:r>
            <a:r>
              <a:rPr lang="ru-RU" sz="5277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лноценного функционирования </a:t>
            </a:r>
            <a:r>
              <a:rPr lang="ru-RU" sz="5277" dirty="0">
                <a:latin typeface="Times New Roman" panose="02020603050405020304" pitchFamily="18" charset="0"/>
                <a:cs typeface="Times New Roman" panose="02020603050405020304" pitchFamily="18" charset="0"/>
              </a:rPr>
              <a:t>в современном обществе, т.е. для </a:t>
            </a:r>
            <a:r>
              <a:rPr lang="ru-RU" sz="5277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ешения</a:t>
            </a:r>
            <a:r>
              <a:rPr lang="ru-RU" sz="5277" dirty="0">
                <a:latin typeface="Times New Roman" panose="02020603050405020304" pitchFamily="18" charset="0"/>
                <a:cs typeface="Times New Roman" panose="02020603050405020304" pitchFamily="18" charset="0"/>
              </a:rPr>
              <a:t> широкого диапазона </a:t>
            </a:r>
            <a:r>
              <a:rPr lang="ru-RU" sz="5277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задач</a:t>
            </a:r>
            <a:r>
              <a:rPr lang="ru-RU" sz="5277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в различных сферах человеческой деятельности, общения и социальных отношений?» </a:t>
            </a:r>
          </a:p>
          <a:p>
            <a:pPr>
              <a:spcBef>
                <a:spcPts val="1319"/>
              </a:spcBef>
            </a:pPr>
            <a:r>
              <a:rPr lang="ru-RU" sz="5277" dirty="0">
                <a:latin typeface="Times New Roman" panose="02020603050405020304" pitchFamily="18" charset="0"/>
                <a:cs typeface="Times New Roman" panose="02020603050405020304" pitchFamily="18" charset="0"/>
              </a:rPr>
              <a:t>[PISA 2018 </a:t>
            </a:r>
            <a:r>
              <a:rPr lang="ru-RU" sz="5277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Assessment</a:t>
            </a:r>
            <a:r>
              <a:rPr lang="ru-RU" sz="5277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5277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and</a:t>
            </a:r>
            <a:r>
              <a:rPr lang="ru-RU" sz="5277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5277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Analytical</a:t>
            </a:r>
            <a:r>
              <a:rPr lang="ru-RU" sz="5277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5277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Framework</a:t>
            </a:r>
            <a:r>
              <a:rPr lang="ru-RU" sz="5277" dirty="0">
                <a:latin typeface="Times New Roman" panose="02020603050405020304" pitchFamily="18" charset="0"/>
                <a:cs typeface="Times New Roman" panose="02020603050405020304" pitchFamily="18" charset="0"/>
              </a:rPr>
              <a:t>. </a:t>
            </a:r>
            <a:r>
              <a:rPr lang="ru-RU" sz="5277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Paris</a:t>
            </a:r>
            <a:r>
              <a:rPr lang="ru-RU" sz="5277" dirty="0">
                <a:latin typeface="Times New Roman" panose="02020603050405020304" pitchFamily="18" charset="0"/>
                <a:cs typeface="Times New Roman" panose="02020603050405020304" pitchFamily="18" charset="0"/>
              </a:rPr>
              <a:t>: OECD </a:t>
            </a:r>
            <a:r>
              <a:rPr lang="ru-RU" sz="5277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Publishing</a:t>
            </a:r>
            <a:r>
              <a:rPr lang="ru-RU" sz="5277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2019. 308 p. ]</a:t>
            </a: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AAAA82DE-8A9D-4A2B-A667-A3223C4288BF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50000"/>
                    </a14:imgEffect>
                    <a14:imgEffect>
                      <a14:saturation sat="400000"/>
                    </a14:imgEffect>
                    <a14:imgEffect>
                      <a14:brightnessContrast bright="-4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r="68876"/>
          <a:stretch/>
        </p:blipFill>
        <p:spPr>
          <a:xfrm>
            <a:off x="17550728" y="244474"/>
            <a:ext cx="2254922" cy="18599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5789311"/>
      </p:ext>
    </p:extLst>
  </p:cSld>
  <p:clrMapOvr>
    <a:masterClrMapping/>
  </p:clrMapOvr>
  <p:transition spd="med"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96C1A656-E857-4DBE-A35E-47D094C433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95532" y="293582"/>
            <a:ext cx="10313035" cy="980957"/>
          </a:xfrm>
        </p:spPr>
        <p:txBody>
          <a:bodyPr>
            <a:noAutofit/>
          </a:bodyPr>
          <a:lstStyle/>
          <a:p>
            <a:pPr algn="ctr"/>
            <a:r>
              <a:rPr lang="ru-RU" sz="5277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Функциональная грамотность</a:t>
            </a:r>
            <a:endParaRPr lang="ru-RU" sz="5277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B2DDE922-1357-4496-ADBD-A38F88750FE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100408" y="3063875"/>
            <a:ext cx="19019113" cy="6858000"/>
          </a:xfrm>
        </p:spPr>
        <p:txBody>
          <a:bodyPr>
            <a:noAutofit/>
          </a:bodyPr>
          <a:lstStyle/>
          <a:p>
            <a:pPr indent="795788"/>
            <a:r>
              <a:rPr lang="ru-RU" sz="4617" dirty="0">
                <a:latin typeface="Times New Roman" panose="02020603050405020304" pitchFamily="18" charset="0"/>
                <a:cs typeface="Times New Roman" panose="02020603050405020304" pitchFamily="18" charset="0"/>
              </a:rPr>
              <a:t>«Функциональная грамотность сегодня – это базовое образование личности … . Ребенок должен обладать: </a:t>
            </a:r>
          </a:p>
          <a:p>
            <a:pPr indent="795788"/>
            <a:r>
              <a:rPr lang="ru-RU" sz="4617" dirty="0">
                <a:latin typeface="Times New Roman" panose="02020603050405020304" pitchFamily="18" charset="0"/>
                <a:cs typeface="Times New Roman" panose="02020603050405020304" pitchFamily="18" charset="0"/>
              </a:rPr>
              <a:t>- готовностью успешно взаимодействовать с изменяющимся окружающим миром …; </a:t>
            </a:r>
          </a:p>
          <a:p>
            <a:pPr indent="795788"/>
            <a:r>
              <a:rPr lang="ru-RU" sz="4617" dirty="0">
                <a:latin typeface="Times New Roman" panose="02020603050405020304" pitchFamily="18" charset="0"/>
                <a:cs typeface="Times New Roman" panose="02020603050405020304" pitchFamily="18" charset="0"/>
              </a:rPr>
              <a:t>- возможностью решать различные (в том числе нестандартные) учебные и жизненные задачи…; </a:t>
            </a:r>
          </a:p>
          <a:p>
            <a:pPr indent="795788"/>
            <a:r>
              <a:rPr lang="ru-RU" sz="4617" dirty="0">
                <a:latin typeface="Times New Roman" panose="02020603050405020304" pitchFamily="18" charset="0"/>
                <a:cs typeface="Times New Roman" panose="02020603050405020304" pitchFamily="18" charset="0"/>
              </a:rPr>
              <a:t>- способностью строить социальные отношения…; </a:t>
            </a:r>
          </a:p>
          <a:p>
            <a:pPr indent="795788"/>
            <a:r>
              <a:rPr lang="ru-RU" sz="4617" dirty="0">
                <a:latin typeface="Times New Roman" panose="02020603050405020304" pitchFamily="18" charset="0"/>
                <a:cs typeface="Times New Roman" panose="02020603050405020304" pitchFamily="18" charset="0"/>
              </a:rPr>
              <a:t>- совокупностью рефлексивных умений, обеспечивающих оценку своей грамотности, стремление к дальнейшему образованию…» </a:t>
            </a: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BEB2ACFD-AD2E-4F46-B5A6-10DADB910B49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50000"/>
                    </a14:imgEffect>
                    <a14:imgEffect>
                      <a14:saturation sat="400000"/>
                    </a14:imgEffect>
                    <a14:imgEffect>
                      <a14:brightnessContrast bright="-4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r="68876"/>
          <a:stretch/>
        </p:blipFill>
        <p:spPr>
          <a:xfrm>
            <a:off x="17550728" y="244474"/>
            <a:ext cx="2254922" cy="18599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1802318"/>
      </p:ext>
    </p:extLst>
  </p:cSld>
  <p:clrMapOvr>
    <a:masterClrMapping/>
  </p:clrMapOvr>
  <p:transition spd="med"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C1D18A9B-28AD-475D-8B13-1550AE3856D6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50000"/>
                    </a14:imgEffect>
                    <a14:imgEffect>
                      <a14:saturation sat="400000"/>
                    </a14:imgEffect>
                    <a14:imgEffect>
                      <a14:brightnessContrast bright="-4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r="68876"/>
          <a:stretch/>
        </p:blipFill>
        <p:spPr>
          <a:xfrm>
            <a:off x="17550728" y="244474"/>
            <a:ext cx="2254922" cy="1859955"/>
          </a:xfrm>
          <a:prstGeom prst="rect">
            <a:avLst/>
          </a:prstGeom>
        </p:spPr>
      </p:pic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1DD0E7BF-E57F-4C25-8E7B-A3A377B15CC8}"/>
              </a:ext>
            </a:extLst>
          </p:cNvPr>
          <p:cNvSpPr/>
          <p:nvPr/>
        </p:nvSpPr>
        <p:spPr>
          <a:xfrm>
            <a:off x="5784850" y="683260"/>
            <a:ext cx="10820400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ru-RU" sz="4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Функциональная грамотность – это базовое образование личности, которое представлено определенными показателями:</a:t>
            </a:r>
          </a:p>
        </p:txBody>
      </p:sp>
      <p:graphicFrame>
        <p:nvGraphicFramePr>
          <p:cNvPr id="5" name="Схема 4">
            <a:extLst>
              <a:ext uri="{FF2B5EF4-FFF2-40B4-BE49-F238E27FC236}">
                <a16:creationId xmlns:a16="http://schemas.microsoft.com/office/drawing/2014/main" id="{42EF2EE2-681F-466D-BF5E-9B88778B618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840426765"/>
              </p:ext>
            </p:extLst>
          </p:nvPr>
        </p:nvGraphicFramePr>
        <p:xfrm>
          <a:off x="1670050" y="3242782"/>
          <a:ext cx="17221200" cy="738330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</p:spTree>
    <p:extLst>
      <p:ext uri="{BB962C8B-B14F-4D97-AF65-F5344CB8AC3E}">
        <p14:creationId xmlns:p14="http://schemas.microsoft.com/office/powerpoint/2010/main" val="336330043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96C1A656-E857-4DBE-A35E-47D094C433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51450" y="461988"/>
            <a:ext cx="10515600" cy="1088972"/>
          </a:xfrm>
        </p:spPr>
        <p:txBody>
          <a:bodyPr>
            <a:noAutofit/>
          </a:bodyPr>
          <a:lstStyle/>
          <a:p>
            <a:pPr algn="ctr"/>
            <a:r>
              <a:rPr lang="ru-RU" sz="5277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Функциональная грамотность</a:t>
            </a:r>
            <a:endParaRPr lang="ru-RU" sz="5277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B2DDE922-1357-4496-ADBD-A38F88750FE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74404" y="2987676"/>
            <a:ext cx="18987206" cy="7315200"/>
          </a:xfrm>
        </p:spPr>
        <p:txBody>
          <a:bodyPr>
            <a:noAutofit/>
          </a:bodyPr>
          <a:lstStyle/>
          <a:p>
            <a:pPr indent="795788">
              <a:spcBef>
                <a:spcPts val="1319"/>
              </a:spcBef>
            </a:pPr>
            <a:r>
              <a:rPr lang="ru-RU" sz="5277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Леонтьев А.А.</a:t>
            </a:r>
            <a:r>
              <a:rPr lang="ru-RU" sz="5277" dirty="0">
                <a:latin typeface="Times New Roman" panose="02020603050405020304" pitchFamily="18" charset="0"/>
                <a:cs typeface="Times New Roman" panose="02020603050405020304" pitchFamily="18" charset="0"/>
              </a:rPr>
              <a:t>: «Функционально грамотный человек – это человек, который </a:t>
            </a:r>
            <a:r>
              <a:rPr lang="ru-RU" sz="5277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пособен </a:t>
            </a:r>
            <a:r>
              <a:rPr lang="ru-RU" sz="5277" dirty="0">
                <a:latin typeface="Times New Roman" panose="02020603050405020304" pitchFamily="18" charset="0"/>
                <a:cs typeface="Times New Roman" panose="02020603050405020304" pitchFamily="18" charset="0"/>
              </a:rPr>
              <a:t>использовать все постоянно приобретаемые в течение жизни </a:t>
            </a:r>
            <a:r>
              <a:rPr lang="ru-RU" sz="5277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знания, умения и навыки</a:t>
            </a:r>
            <a:r>
              <a:rPr lang="ru-RU" sz="5277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для решения максимально широкого диапазона жизненных задач в различных сферах человеческой деятельности, общения и социальных отношений» </a:t>
            </a:r>
          </a:p>
          <a:p>
            <a:pPr>
              <a:spcBef>
                <a:spcPts val="1319"/>
              </a:spcBef>
            </a:pPr>
            <a:r>
              <a:rPr lang="ru-RU" sz="5277" dirty="0">
                <a:latin typeface="Times New Roman" panose="02020603050405020304" pitchFamily="18" charset="0"/>
                <a:cs typeface="Times New Roman" panose="02020603050405020304" pitchFamily="18" charset="0"/>
              </a:rPr>
              <a:t>[Образовательная система «Школа 2100». Педагогика здравого смысла / под ред. А. А. Леонтьева. М.: </a:t>
            </a:r>
            <a:r>
              <a:rPr lang="ru-RU" sz="5277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Баласс</a:t>
            </a:r>
            <a:r>
              <a:rPr lang="ru-RU" sz="5277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2003. С. 35.].</a:t>
            </a: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4671D5EB-ABB4-48A9-B99C-8993426D3007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50000"/>
                    </a14:imgEffect>
                    <a14:imgEffect>
                      <a14:saturation sat="400000"/>
                    </a14:imgEffect>
                    <a14:imgEffect>
                      <a14:brightnessContrast bright="-4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r="68876"/>
          <a:stretch/>
        </p:blipFill>
        <p:spPr>
          <a:xfrm>
            <a:off x="17550728" y="244474"/>
            <a:ext cx="2254922" cy="18599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7044056"/>
      </p:ext>
    </p:extLst>
  </p:cSld>
  <p:clrMapOvr>
    <a:masterClrMapping/>
  </p:clrMapOvr>
  <p:transition spd="med"/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4B042AC9-B016-49A0-9790-F4ACD14119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99050" y="777875"/>
            <a:ext cx="11430000" cy="1759109"/>
          </a:xfrm>
        </p:spPr>
        <p:txBody>
          <a:bodyPr>
            <a:noAutofit/>
          </a:bodyPr>
          <a:lstStyle/>
          <a:p>
            <a:pPr algn="ctr"/>
            <a:r>
              <a:rPr lang="ru-RU" sz="5277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PISA представляет функциональную грамотность в виде составляющих: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F448D20C-2A49-4DE5-ACDC-7BC039AD047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041650" y="3597275"/>
            <a:ext cx="14701125" cy="6659483"/>
          </a:xfrm>
        </p:spPr>
        <p:txBody>
          <a:bodyPr>
            <a:noAutofit/>
          </a:bodyPr>
          <a:lstStyle/>
          <a:p>
            <a:pPr marL="753923" indent="-753923">
              <a:spcBef>
                <a:spcPts val="1319"/>
              </a:spcBef>
              <a:buFont typeface="Wingdings" panose="05000000000000000000" pitchFamily="2" charset="2"/>
              <a:buChar char="ü"/>
            </a:pPr>
            <a:r>
              <a:rPr lang="ru-RU" sz="4617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итательская грамотность;</a:t>
            </a:r>
          </a:p>
          <a:p>
            <a:pPr marL="753923" indent="-753923">
              <a:spcBef>
                <a:spcPts val="1319"/>
              </a:spcBef>
              <a:buFont typeface="Wingdings" panose="05000000000000000000" pitchFamily="2" charset="2"/>
              <a:buChar char="ü"/>
            </a:pPr>
            <a:r>
              <a:rPr lang="ru-RU" sz="4617" dirty="0">
                <a:latin typeface="Times New Roman" panose="02020603050405020304" pitchFamily="18" charset="0"/>
                <a:cs typeface="Times New Roman" panose="02020603050405020304" pitchFamily="18" charset="0"/>
              </a:rPr>
              <a:t>естественно-научная грамотность;</a:t>
            </a:r>
          </a:p>
          <a:p>
            <a:pPr marL="753923" indent="-753923">
              <a:spcBef>
                <a:spcPts val="1319"/>
              </a:spcBef>
              <a:buFont typeface="Wingdings" panose="05000000000000000000" pitchFamily="2" charset="2"/>
              <a:buChar char="ü"/>
            </a:pPr>
            <a:r>
              <a:rPr lang="ru-RU" sz="4617" dirty="0">
                <a:latin typeface="Times New Roman" panose="02020603050405020304" pitchFamily="18" charset="0"/>
                <a:cs typeface="Times New Roman" panose="02020603050405020304" pitchFamily="18" charset="0"/>
              </a:rPr>
              <a:t>математическая грамотность;</a:t>
            </a:r>
          </a:p>
          <a:p>
            <a:pPr marL="753923" indent="-753923">
              <a:spcBef>
                <a:spcPts val="1319"/>
              </a:spcBef>
              <a:buFont typeface="Wingdings" panose="05000000000000000000" pitchFamily="2" charset="2"/>
              <a:buChar char="ü"/>
            </a:pPr>
            <a:r>
              <a:rPr lang="ru-RU" sz="4617" dirty="0">
                <a:latin typeface="Times New Roman" panose="02020603050405020304" pitchFamily="18" charset="0"/>
                <a:cs typeface="Times New Roman" panose="02020603050405020304" pitchFamily="18" charset="0"/>
              </a:rPr>
              <a:t>финансовая грамотность (PISA- 2012 года);</a:t>
            </a:r>
          </a:p>
          <a:p>
            <a:pPr marL="753923" indent="-753923">
              <a:spcBef>
                <a:spcPts val="1319"/>
              </a:spcBef>
              <a:buFont typeface="Wingdings" panose="05000000000000000000" pitchFamily="2" charset="2"/>
              <a:buChar char="ü"/>
            </a:pPr>
            <a:r>
              <a:rPr lang="ru-RU" sz="4617" dirty="0">
                <a:latin typeface="Times New Roman" panose="02020603050405020304" pitchFamily="18" charset="0"/>
                <a:cs typeface="Times New Roman" panose="02020603050405020304" pitchFamily="18" charset="0"/>
              </a:rPr>
              <a:t>решение проблем (PISA-2015);</a:t>
            </a:r>
          </a:p>
          <a:p>
            <a:pPr marL="753923" indent="-753923">
              <a:spcBef>
                <a:spcPts val="1319"/>
              </a:spcBef>
              <a:buFont typeface="Wingdings" panose="05000000000000000000" pitchFamily="2" charset="2"/>
              <a:buChar char="ü"/>
            </a:pPr>
            <a:r>
              <a:rPr lang="ru-RU" sz="4617" dirty="0">
                <a:latin typeface="Times New Roman" panose="02020603050405020304" pitchFamily="18" charset="0"/>
                <a:cs typeface="Times New Roman" panose="02020603050405020304" pitchFamily="18" charset="0"/>
              </a:rPr>
              <a:t>глобальные компетенции (PISA- 2018 года);</a:t>
            </a:r>
          </a:p>
          <a:p>
            <a:pPr marL="753923" indent="-753923">
              <a:spcBef>
                <a:spcPts val="1319"/>
              </a:spcBef>
              <a:buFont typeface="Wingdings" panose="05000000000000000000" pitchFamily="2" charset="2"/>
              <a:buChar char="ü"/>
            </a:pPr>
            <a:r>
              <a:rPr lang="ru-RU" sz="4617" dirty="0">
                <a:latin typeface="Times New Roman" panose="02020603050405020304" pitchFamily="18" charset="0"/>
                <a:cs typeface="Times New Roman" panose="02020603050405020304" pitchFamily="18" charset="0"/>
              </a:rPr>
              <a:t>креативное мышление (PISA- 2021 года).</a:t>
            </a: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77B81EE6-C07C-470C-A6DF-3B0980E727C4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50000"/>
                    </a14:imgEffect>
                    <a14:imgEffect>
                      <a14:saturation sat="400000"/>
                    </a14:imgEffect>
                    <a14:imgEffect>
                      <a14:brightnessContrast bright="-4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r="68876"/>
          <a:stretch/>
        </p:blipFill>
        <p:spPr>
          <a:xfrm>
            <a:off x="17550728" y="244474"/>
            <a:ext cx="2254922" cy="18599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9440849"/>
      </p:ext>
    </p:extLst>
  </p:cSld>
  <p:clrMapOvr>
    <a:masterClrMapping/>
  </p:clrMapOvr>
  <p:transition spd="med"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TM04033917[[fn=Берлин]]</Template>
  <TotalTime>541</TotalTime>
  <Words>975</Words>
  <Application>Microsoft Office PowerPoint</Application>
  <PresentationFormat>Произвольный</PresentationFormat>
  <Paragraphs>94</Paragraphs>
  <Slides>17</Slides>
  <Notes>2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5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7</vt:i4>
      </vt:variant>
    </vt:vector>
  </HeadingPairs>
  <TitlesOfParts>
    <vt:vector size="24" baseType="lpstr">
      <vt:lpstr>Arial</vt:lpstr>
      <vt:lpstr>Calibri</vt:lpstr>
      <vt:lpstr>Tahoma</vt:lpstr>
      <vt:lpstr>Times New Roman</vt:lpstr>
      <vt:lpstr>Wingdings</vt:lpstr>
      <vt:lpstr>Office Theme</vt:lpstr>
      <vt:lpstr>think-cell Slide</vt:lpstr>
      <vt:lpstr>Презентация PowerPoint</vt:lpstr>
      <vt:lpstr>Презентация PowerPoint</vt:lpstr>
      <vt:lpstr>Презентация PowerPoint</vt:lpstr>
      <vt:lpstr>Функциональная грамотность</vt:lpstr>
      <vt:lpstr>Функциональная грамотность</vt:lpstr>
      <vt:lpstr>Функциональная грамотность</vt:lpstr>
      <vt:lpstr>Презентация PowerPoint</vt:lpstr>
      <vt:lpstr>Функциональная грамотность</vt:lpstr>
      <vt:lpstr>PISA представляет функциональную грамотность в виде составляющих:</vt:lpstr>
      <vt:lpstr>Презентация PowerPoint</vt:lpstr>
      <vt:lpstr>Функциональная грамотность: преемственность задач системы образования</vt:lpstr>
      <vt:lpstr>Формирование предпосылок функциональной грамотности ребенка в условиях реализации ФГОС ДО </vt:lpstr>
      <vt:lpstr>Презентация PowerPoint</vt:lpstr>
      <vt:lpstr>Федеральная образовательная программа дошкольного образования</vt:lpstr>
      <vt:lpstr>Презентация PowerPoint</vt:lpstr>
      <vt:lpstr>Сравнение и рассуждение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Стандарт проведения церемонии Год педагога и наставника_v7</dc:title>
  <dc:creator>DefaultAccount</dc:creator>
  <cp:lastModifiedBy>СИЦ</cp:lastModifiedBy>
  <cp:revision>79</cp:revision>
  <dcterms:created xsi:type="dcterms:W3CDTF">2023-01-31T04:04:25Z</dcterms:created>
  <dcterms:modified xsi:type="dcterms:W3CDTF">2023-02-06T07:56:1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reated">
    <vt:filetime>2023-01-26T00:00:00Z</vt:filetime>
  </property>
  <property fmtid="{D5CDD505-2E9C-101B-9397-08002B2CF9AE}" pid="3" name="Creator">
    <vt:lpwstr>Adobe Illustrator 26.0 (Windows)</vt:lpwstr>
  </property>
  <property fmtid="{D5CDD505-2E9C-101B-9397-08002B2CF9AE}" pid="4" name="LastSaved">
    <vt:filetime>2023-01-31T00:00:00Z</vt:filetime>
  </property>
</Properties>
</file>